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24.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9.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19.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20.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21.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22.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8"/>
  </p:notesMasterIdLst>
  <p:handoutMasterIdLst>
    <p:handoutMasterId r:id="rId29"/>
  </p:handoutMasterIdLst>
  <p:sldIdLst>
    <p:sldId id="573" r:id="rId5"/>
    <p:sldId id="2147482821" r:id="rId6"/>
    <p:sldId id="574" r:id="rId7"/>
    <p:sldId id="2147482793" r:id="rId8"/>
    <p:sldId id="2147482840" r:id="rId9"/>
    <p:sldId id="2147482826" r:id="rId10"/>
    <p:sldId id="2147482819" r:id="rId11"/>
    <p:sldId id="2147482845" r:id="rId12"/>
    <p:sldId id="2147482794" r:id="rId13"/>
    <p:sldId id="2147482795" r:id="rId14"/>
    <p:sldId id="2147482833" r:id="rId15"/>
    <p:sldId id="2147482834" r:id="rId16"/>
    <p:sldId id="2147482836" r:id="rId17"/>
    <p:sldId id="2147482852" r:id="rId18"/>
    <p:sldId id="2147482854" r:id="rId19"/>
    <p:sldId id="2147482846" r:id="rId20"/>
    <p:sldId id="2147482847" r:id="rId21"/>
    <p:sldId id="2147482851" r:id="rId22"/>
    <p:sldId id="2147482850" r:id="rId23"/>
    <p:sldId id="2147482849" r:id="rId24"/>
    <p:sldId id="2147482842" r:id="rId25"/>
    <p:sldId id="2147482831" r:id="rId26"/>
    <p:sldId id="587" r:id="rId27"/>
  </p:sldIdLst>
  <p:sldSz cx="11520488" cy="6480175"/>
  <p:notesSz cx="6858000" cy="9144000"/>
  <p:custDataLst>
    <p:tags r:id="rId30"/>
  </p:custDataLst>
  <p:defaultTextStyle>
    <a:defPPr>
      <a:defRPr lang="de-DE"/>
    </a:defPPr>
    <a:lvl1pPr marL="0" algn="l" defTabSz="863995" rtl="0" eaLnBrk="1" latinLnBrk="0" hangingPunct="1">
      <a:defRPr sz="1701" kern="1200">
        <a:solidFill>
          <a:schemeClr val="tx1"/>
        </a:solidFill>
        <a:latin typeface="+mn-lt"/>
        <a:ea typeface="+mn-ea"/>
        <a:cs typeface="+mn-cs"/>
      </a:defRPr>
    </a:lvl1pPr>
    <a:lvl2pPr marL="431998" algn="l" defTabSz="863995" rtl="0" eaLnBrk="1" latinLnBrk="0" hangingPunct="1">
      <a:defRPr sz="1701" kern="1200">
        <a:solidFill>
          <a:schemeClr val="tx1"/>
        </a:solidFill>
        <a:latin typeface="+mn-lt"/>
        <a:ea typeface="+mn-ea"/>
        <a:cs typeface="+mn-cs"/>
      </a:defRPr>
    </a:lvl2pPr>
    <a:lvl3pPr marL="863995" algn="l" defTabSz="863995" rtl="0" eaLnBrk="1" latinLnBrk="0" hangingPunct="1">
      <a:defRPr sz="1701" kern="1200">
        <a:solidFill>
          <a:schemeClr val="tx1"/>
        </a:solidFill>
        <a:latin typeface="+mn-lt"/>
        <a:ea typeface="+mn-ea"/>
        <a:cs typeface="+mn-cs"/>
      </a:defRPr>
    </a:lvl3pPr>
    <a:lvl4pPr marL="1295993" algn="l" defTabSz="863995" rtl="0" eaLnBrk="1" latinLnBrk="0" hangingPunct="1">
      <a:defRPr sz="1701" kern="1200">
        <a:solidFill>
          <a:schemeClr val="tx1"/>
        </a:solidFill>
        <a:latin typeface="+mn-lt"/>
        <a:ea typeface="+mn-ea"/>
        <a:cs typeface="+mn-cs"/>
      </a:defRPr>
    </a:lvl4pPr>
    <a:lvl5pPr marL="1727990" algn="l" defTabSz="863995" rtl="0" eaLnBrk="1" latinLnBrk="0" hangingPunct="1">
      <a:defRPr sz="1701" kern="1200">
        <a:solidFill>
          <a:schemeClr val="tx1"/>
        </a:solidFill>
        <a:latin typeface="+mn-lt"/>
        <a:ea typeface="+mn-ea"/>
        <a:cs typeface="+mn-cs"/>
      </a:defRPr>
    </a:lvl5pPr>
    <a:lvl6pPr marL="2159988" algn="l" defTabSz="863995" rtl="0" eaLnBrk="1" latinLnBrk="0" hangingPunct="1">
      <a:defRPr sz="1701" kern="1200">
        <a:solidFill>
          <a:schemeClr val="tx1"/>
        </a:solidFill>
        <a:latin typeface="+mn-lt"/>
        <a:ea typeface="+mn-ea"/>
        <a:cs typeface="+mn-cs"/>
      </a:defRPr>
    </a:lvl6pPr>
    <a:lvl7pPr marL="2591984" algn="l" defTabSz="863995" rtl="0" eaLnBrk="1" latinLnBrk="0" hangingPunct="1">
      <a:defRPr sz="1701" kern="1200">
        <a:solidFill>
          <a:schemeClr val="tx1"/>
        </a:solidFill>
        <a:latin typeface="+mn-lt"/>
        <a:ea typeface="+mn-ea"/>
        <a:cs typeface="+mn-cs"/>
      </a:defRPr>
    </a:lvl7pPr>
    <a:lvl8pPr marL="3023982" algn="l" defTabSz="863995" rtl="0" eaLnBrk="1" latinLnBrk="0" hangingPunct="1">
      <a:defRPr sz="1701" kern="1200">
        <a:solidFill>
          <a:schemeClr val="tx1"/>
        </a:solidFill>
        <a:latin typeface="+mn-lt"/>
        <a:ea typeface="+mn-ea"/>
        <a:cs typeface="+mn-cs"/>
      </a:defRPr>
    </a:lvl8pPr>
    <a:lvl9pPr marL="3455980" algn="l" defTabSz="863995" rtl="0" eaLnBrk="1" latinLnBrk="0" hangingPunct="1">
      <a:defRPr sz="1701"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874D9EB-0D06-4F62-A5AE-FF1B164A9049}">
          <p14:sldIdLst>
            <p14:sldId id="573"/>
          </p14:sldIdLst>
        </p14:section>
        <p14:section name="company" id="{2A4511D6-FB66-4048-A67E-47ABB92F87E0}">
          <p14:sldIdLst>
            <p14:sldId id="2147482821"/>
          </p14:sldIdLst>
        </p14:section>
        <p14:section name="intro" id="{098D3951-9238-472B-AAA4-81FCD4966D60}">
          <p14:sldIdLst>
            <p14:sldId id="574"/>
          </p14:sldIdLst>
        </p14:section>
        <p14:section name="point1" id="{8EE6ACD1-F629-4209-AE24-BECABE4053A0}">
          <p14:sldIdLst>
            <p14:sldId id="2147482793"/>
            <p14:sldId id="2147482840"/>
            <p14:sldId id="2147482826"/>
            <p14:sldId id="2147482819"/>
            <p14:sldId id="2147482845"/>
            <p14:sldId id="2147482794"/>
            <p14:sldId id="2147482795"/>
            <p14:sldId id="2147482833"/>
            <p14:sldId id="2147482834"/>
            <p14:sldId id="2147482836"/>
          </p14:sldIdLst>
        </p14:section>
        <p14:section name="point 2" id="{14351703-8A18-4292-8440-B940C6C1D308}">
          <p14:sldIdLst>
            <p14:sldId id="2147482852"/>
            <p14:sldId id="2147482854"/>
            <p14:sldId id="2147482846"/>
            <p14:sldId id="2147482847"/>
            <p14:sldId id="2147482851"/>
            <p14:sldId id="2147482850"/>
            <p14:sldId id="2147482849"/>
            <p14:sldId id="2147482842"/>
            <p14:sldId id="2147482831"/>
          </p14:sldIdLst>
        </p14:section>
        <p14:section name="contact" id="{73486F86-47A4-412A-91CA-0027FBAB522A}">
          <p14:sldIdLst>
            <p14:sldId id="587"/>
          </p14:sldIdLst>
        </p14:section>
      </p14:sectionLst>
    </p:ext>
    <p:ext uri="{EFAFB233-063F-42B5-8137-9DF3F51BA10A}">
      <p15:sldGuideLst xmlns:p15="http://schemas.microsoft.com/office/powerpoint/2012/main">
        <p15:guide id="1" orient="horz" pos="2200" userDrawn="1">
          <p15:clr>
            <a:srgbClr val="A4A3A4"/>
          </p15:clr>
        </p15:guide>
        <p15:guide id="2" pos="362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37CA01-90DA-4D2B-AC0A-761D69F4697E}" v="2125" dt="2025-05-20T20:07:21.151"/>
    <p1510:client id="{6A2BE59C-F9D9-4F80-9A53-F40DA7312C17}" v="72" dt="2025-05-20T01:40:14.418"/>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34" autoAdjust="0"/>
    <p:restoredTop sz="84615" autoAdjust="0"/>
  </p:normalViewPr>
  <p:slideViewPr>
    <p:cSldViewPr>
      <p:cViewPr varScale="1">
        <p:scale>
          <a:sx n="95" d="100"/>
          <a:sy n="95" d="100"/>
        </p:scale>
        <p:origin x="1386" y="90"/>
      </p:cViewPr>
      <p:guideLst>
        <p:guide orient="horz" pos="2200"/>
        <p:guide pos="3629"/>
      </p:guideLst>
    </p:cSldViewPr>
  </p:slideViewPr>
  <p:outlineViewPr>
    <p:cViewPr>
      <p:scale>
        <a:sx n="33" d="100"/>
        <a:sy n="33" d="100"/>
      </p:scale>
      <p:origin x="0" y="0"/>
    </p:cViewPr>
  </p:outlineViewPr>
  <p:notesTextViewPr>
    <p:cViewPr>
      <p:scale>
        <a:sx n="66" d="100"/>
        <a:sy n="66" d="100"/>
      </p:scale>
      <p:origin x="0" y="0"/>
    </p:cViewPr>
  </p:notesTextViewPr>
  <p:sorterViewPr>
    <p:cViewPr>
      <p:scale>
        <a:sx n="100" d="100"/>
        <a:sy n="100" d="100"/>
      </p:scale>
      <p:origin x="0" y="0"/>
    </p:cViewPr>
  </p:sorterViewPr>
  <p:notesViewPr>
    <p:cSldViewPr>
      <p:cViewPr varScale="1">
        <p:scale>
          <a:sx n="117" d="100"/>
          <a:sy n="117" d="100"/>
        </p:scale>
        <p:origin x="6512" y="176"/>
      </p:cViewPr>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ka, Dr. Dennis Kengo (JP)" userId="aeb014c5-2f18-4035-80ba-4d519a44d38a" providerId="ADAL" clId="{4937CA01-90DA-4D2B-AC0A-761D69F4697E}"/>
    <pc:docChg chg="undo custSel addSld delSld modSld sldOrd modSection">
      <pc:chgData name="Oka, Dr. Dennis Kengo (JP)" userId="aeb014c5-2f18-4035-80ba-4d519a44d38a" providerId="ADAL" clId="{4937CA01-90DA-4D2B-AC0A-761D69F4697E}" dt="2025-05-20T20:07:22.544" v="5749" actId="207"/>
      <pc:docMkLst>
        <pc:docMk/>
      </pc:docMkLst>
      <pc:sldChg chg="modSp mod">
        <pc:chgData name="Oka, Dr. Dennis Kengo (JP)" userId="aeb014c5-2f18-4035-80ba-4d519a44d38a" providerId="ADAL" clId="{4937CA01-90DA-4D2B-AC0A-761D69F4697E}" dt="2025-05-20T10:51:48.503" v="12" actId="20577"/>
        <pc:sldMkLst>
          <pc:docMk/>
          <pc:sldMk cId="639914504" sldId="573"/>
        </pc:sldMkLst>
        <pc:spChg chg="mod">
          <ac:chgData name="Oka, Dr. Dennis Kengo (JP)" userId="aeb014c5-2f18-4035-80ba-4d519a44d38a" providerId="ADAL" clId="{4937CA01-90DA-4D2B-AC0A-761D69F4697E}" dt="2025-05-20T10:51:48.503" v="12" actId="20577"/>
          <ac:spMkLst>
            <pc:docMk/>
            <pc:sldMk cId="639914504" sldId="573"/>
            <ac:spMk id="49" creationId="{F2D4C992-6263-44EE-BBDD-FD2201250A58}"/>
          </ac:spMkLst>
        </pc:spChg>
      </pc:sldChg>
      <pc:sldChg chg="del ord">
        <pc:chgData name="Oka, Dr. Dennis Kengo (JP)" userId="aeb014c5-2f18-4035-80ba-4d519a44d38a" providerId="ADAL" clId="{4937CA01-90DA-4D2B-AC0A-761D69F4697E}" dt="2025-05-20T11:09:47.700" v="313" actId="47"/>
        <pc:sldMkLst>
          <pc:docMk/>
          <pc:sldMk cId="3551687455" sldId="2144327900"/>
        </pc:sldMkLst>
      </pc:sldChg>
      <pc:sldChg chg="modSp">
        <pc:chgData name="Oka, Dr. Dennis Kengo (JP)" userId="aeb014c5-2f18-4035-80ba-4d519a44d38a" providerId="ADAL" clId="{4937CA01-90DA-4D2B-AC0A-761D69F4697E}" dt="2025-05-20T19:24:58.174" v="5060" actId="255"/>
        <pc:sldMkLst>
          <pc:docMk/>
          <pc:sldMk cId="1509253937" sldId="2147482793"/>
        </pc:sldMkLst>
        <pc:graphicFrameChg chg="mod">
          <ac:chgData name="Oka, Dr. Dennis Kengo (JP)" userId="aeb014c5-2f18-4035-80ba-4d519a44d38a" providerId="ADAL" clId="{4937CA01-90DA-4D2B-AC0A-761D69F4697E}" dt="2025-05-20T19:24:58.174" v="5060" actId="255"/>
          <ac:graphicFrameMkLst>
            <pc:docMk/>
            <pc:sldMk cId="1509253937" sldId="2147482793"/>
            <ac:graphicFrameMk id="5" creationId="{0223F6E1-9A19-1AD4-E23A-F4AD49E1E58E}"/>
          </ac:graphicFrameMkLst>
        </pc:graphicFrameChg>
      </pc:sldChg>
      <pc:sldChg chg="modSp">
        <pc:chgData name="Oka, Dr. Dennis Kengo (JP)" userId="aeb014c5-2f18-4035-80ba-4d519a44d38a" providerId="ADAL" clId="{4937CA01-90DA-4D2B-AC0A-761D69F4697E}" dt="2025-05-20T11:38:41.172" v="1354"/>
        <pc:sldMkLst>
          <pc:docMk/>
          <pc:sldMk cId="2143368257" sldId="2147482794"/>
        </pc:sldMkLst>
        <pc:spChg chg="mod">
          <ac:chgData name="Oka, Dr. Dennis Kengo (JP)" userId="aeb014c5-2f18-4035-80ba-4d519a44d38a" providerId="ADAL" clId="{4937CA01-90DA-4D2B-AC0A-761D69F4697E}" dt="2025-05-20T11:38:41.172" v="1354"/>
          <ac:spMkLst>
            <pc:docMk/>
            <pc:sldMk cId="2143368257" sldId="2147482794"/>
            <ac:spMk id="18" creationId="{8DCC7189-5FFA-4C16-F09F-86B9161A5C90}"/>
          </ac:spMkLst>
        </pc:spChg>
        <pc:grpChg chg="mod">
          <ac:chgData name="Oka, Dr. Dennis Kengo (JP)" userId="aeb014c5-2f18-4035-80ba-4d519a44d38a" providerId="ADAL" clId="{4937CA01-90DA-4D2B-AC0A-761D69F4697E}" dt="2025-05-20T11:38:41.172" v="1354"/>
          <ac:grpSpMkLst>
            <pc:docMk/>
            <pc:sldMk cId="2143368257" sldId="2147482794"/>
            <ac:grpSpMk id="14" creationId="{1ED9F7CE-C2B4-FC21-106E-A62F4E2D3EA3}"/>
          </ac:grpSpMkLst>
        </pc:grpChg>
        <pc:picChg chg="mod">
          <ac:chgData name="Oka, Dr. Dennis Kengo (JP)" userId="aeb014c5-2f18-4035-80ba-4d519a44d38a" providerId="ADAL" clId="{4937CA01-90DA-4D2B-AC0A-761D69F4697E}" dt="2025-05-20T11:38:41.172" v="1354"/>
          <ac:picMkLst>
            <pc:docMk/>
            <pc:sldMk cId="2143368257" sldId="2147482794"/>
            <ac:picMk id="19" creationId="{D6C12FBD-355E-FA29-C5B0-171B85C58D9B}"/>
          </ac:picMkLst>
        </pc:picChg>
      </pc:sldChg>
      <pc:sldChg chg="modSp mod modNotesTx">
        <pc:chgData name="Oka, Dr. Dennis Kengo (JP)" userId="aeb014c5-2f18-4035-80ba-4d519a44d38a" providerId="ADAL" clId="{4937CA01-90DA-4D2B-AC0A-761D69F4697E}" dt="2025-05-20T19:56:19.421" v="5650" actId="20577"/>
        <pc:sldMkLst>
          <pc:docMk/>
          <pc:sldMk cId="3663075995" sldId="2147482795"/>
        </pc:sldMkLst>
        <pc:spChg chg="mod">
          <ac:chgData name="Oka, Dr. Dennis Kengo (JP)" userId="aeb014c5-2f18-4035-80ba-4d519a44d38a" providerId="ADAL" clId="{4937CA01-90DA-4D2B-AC0A-761D69F4697E}" dt="2025-05-20T19:56:19.421" v="5650" actId="20577"/>
          <ac:spMkLst>
            <pc:docMk/>
            <pc:sldMk cId="3663075995" sldId="2147482795"/>
            <ac:spMk id="8" creationId="{EA151593-2783-B729-BF0A-87522BB928B3}"/>
          </ac:spMkLst>
        </pc:spChg>
      </pc:sldChg>
      <pc:sldChg chg="addSp delSp modSp del mod ord modClrScheme addAnim delAnim modAnim modShow chgLayout modNotesTx">
        <pc:chgData name="Oka, Dr. Dennis Kengo (JP)" userId="aeb014c5-2f18-4035-80ba-4d519a44d38a" providerId="ADAL" clId="{4937CA01-90DA-4D2B-AC0A-761D69F4697E}" dt="2025-05-20T19:32:00.421" v="5131" actId="47"/>
        <pc:sldMkLst>
          <pc:docMk/>
          <pc:sldMk cId="565694939" sldId="2147482807"/>
        </pc:sldMkLst>
        <pc:spChg chg="del">
          <ac:chgData name="Oka, Dr. Dennis Kengo (JP)" userId="aeb014c5-2f18-4035-80ba-4d519a44d38a" providerId="ADAL" clId="{4937CA01-90DA-4D2B-AC0A-761D69F4697E}" dt="2025-05-20T11:10:46.418" v="314" actId="478"/>
          <ac:spMkLst>
            <pc:docMk/>
            <pc:sldMk cId="565694939" sldId="2147482807"/>
            <ac:spMk id="2" creationId="{EAF33DD4-5DB6-1699-EEFD-97A6E1742AD9}"/>
          </ac:spMkLst>
        </pc:spChg>
        <pc:spChg chg="mod ord">
          <ac:chgData name="Oka, Dr. Dennis Kengo (JP)" userId="aeb014c5-2f18-4035-80ba-4d519a44d38a" providerId="ADAL" clId="{4937CA01-90DA-4D2B-AC0A-761D69F4697E}" dt="2025-05-20T19:30:59.518" v="5095" actId="700"/>
          <ac:spMkLst>
            <pc:docMk/>
            <pc:sldMk cId="565694939" sldId="2147482807"/>
            <ac:spMk id="3" creationId="{08303C2B-5AD8-8BD3-98E9-E5FDB40E9131}"/>
          </ac:spMkLst>
        </pc:spChg>
        <pc:spChg chg="mod ord">
          <ac:chgData name="Oka, Dr. Dennis Kengo (JP)" userId="aeb014c5-2f18-4035-80ba-4d519a44d38a" providerId="ADAL" clId="{4937CA01-90DA-4D2B-AC0A-761D69F4697E}" dt="2025-05-20T19:30:59.518" v="5095" actId="700"/>
          <ac:spMkLst>
            <pc:docMk/>
            <pc:sldMk cId="565694939" sldId="2147482807"/>
            <ac:spMk id="4" creationId="{88DD6339-F5F1-18D9-8760-F30CFE01BD4D}"/>
          </ac:spMkLst>
        </pc:spChg>
        <pc:spChg chg="add del">
          <ac:chgData name="Oka, Dr. Dennis Kengo (JP)" userId="aeb014c5-2f18-4035-80ba-4d519a44d38a" providerId="ADAL" clId="{4937CA01-90DA-4D2B-AC0A-761D69F4697E}" dt="2025-05-20T19:30:45.892" v="5093" actId="700"/>
          <ac:spMkLst>
            <pc:docMk/>
            <pc:sldMk cId="565694939" sldId="2147482807"/>
            <ac:spMk id="5" creationId="{575A1663-4746-1C11-55DB-7C500B8D8819}"/>
          </ac:spMkLst>
        </pc:spChg>
        <pc:spChg chg="mod ord">
          <ac:chgData name="Oka, Dr. Dennis Kengo (JP)" userId="aeb014c5-2f18-4035-80ba-4d519a44d38a" providerId="ADAL" clId="{4937CA01-90DA-4D2B-AC0A-761D69F4697E}" dt="2025-05-20T19:30:59.518" v="5095" actId="700"/>
          <ac:spMkLst>
            <pc:docMk/>
            <pc:sldMk cId="565694939" sldId="2147482807"/>
            <ac:spMk id="6" creationId="{78F1D287-4288-EFBA-098E-D8A5C6FD2F82}"/>
          </ac:spMkLst>
        </pc:spChg>
        <pc:spChg chg="mod ord">
          <ac:chgData name="Oka, Dr. Dennis Kengo (JP)" userId="aeb014c5-2f18-4035-80ba-4d519a44d38a" providerId="ADAL" clId="{4937CA01-90DA-4D2B-AC0A-761D69F4697E}" dt="2025-05-20T19:30:59.518" v="5095" actId="700"/>
          <ac:spMkLst>
            <pc:docMk/>
            <pc:sldMk cId="565694939" sldId="2147482807"/>
            <ac:spMk id="7" creationId="{A83AD06B-1E0A-8061-B569-14A6487E49EF}"/>
          </ac:spMkLst>
        </pc:spChg>
        <pc:spChg chg="del">
          <ac:chgData name="Oka, Dr. Dennis Kengo (JP)" userId="aeb014c5-2f18-4035-80ba-4d519a44d38a" providerId="ADAL" clId="{4937CA01-90DA-4D2B-AC0A-761D69F4697E}" dt="2025-05-20T11:28:02.064" v="1020" actId="478"/>
          <ac:spMkLst>
            <pc:docMk/>
            <pc:sldMk cId="565694939" sldId="2147482807"/>
            <ac:spMk id="8" creationId="{16BD9686-67E0-F0F2-389A-96630180177C}"/>
          </ac:spMkLst>
        </pc:spChg>
        <pc:spChg chg="del">
          <ac:chgData name="Oka, Dr. Dennis Kengo (JP)" userId="aeb014c5-2f18-4035-80ba-4d519a44d38a" providerId="ADAL" clId="{4937CA01-90DA-4D2B-AC0A-761D69F4697E}" dt="2025-05-20T11:33:44.559" v="1223" actId="478"/>
          <ac:spMkLst>
            <pc:docMk/>
            <pc:sldMk cId="565694939" sldId="2147482807"/>
            <ac:spMk id="12" creationId="{08E0EB26-3605-67A2-B335-3589EFF70EFB}"/>
          </ac:spMkLst>
        </pc:spChg>
        <pc:spChg chg="mod">
          <ac:chgData name="Oka, Dr. Dennis Kengo (JP)" userId="aeb014c5-2f18-4035-80ba-4d519a44d38a" providerId="ADAL" clId="{4937CA01-90DA-4D2B-AC0A-761D69F4697E}" dt="2025-05-20T11:33:48.561" v="1229"/>
          <ac:spMkLst>
            <pc:docMk/>
            <pc:sldMk cId="565694939" sldId="2147482807"/>
            <ac:spMk id="16" creationId="{E9DFAAB4-6820-4A2A-3AA7-B0A10F3285F7}"/>
          </ac:spMkLst>
        </pc:spChg>
        <pc:spChg chg="mod">
          <ac:chgData name="Oka, Dr. Dennis Kengo (JP)" userId="aeb014c5-2f18-4035-80ba-4d519a44d38a" providerId="ADAL" clId="{4937CA01-90DA-4D2B-AC0A-761D69F4697E}" dt="2025-05-20T11:25:19.488" v="864" actId="20577"/>
          <ac:spMkLst>
            <pc:docMk/>
            <pc:sldMk cId="565694939" sldId="2147482807"/>
            <ac:spMk id="17" creationId="{A9310433-B09A-A395-3211-EEAC26132C79}"/>
          </ac:spMkLst>
        </pc:spChg>
        <pc:spChg chg="mod">
          <ac:chgData name="Oka, Dr. Dennis Kengo (JP)" userId="aeb014c5-2f18-4035-80ba-4d519a44d38a" providerId="ADAL" clId="{4937CA01-90DA-4D2B-AC0A-761D69F4697E}" dt="2025-05-20T11:34:14.876" v="1266"/>
          <ac:spMkLst>
            <pc:docMk/>
            <pc:sldMk cId="565694939" sldId="2147482807"/>
            <ac:spMk id="20" creationId="{20CF540F-95EA-D4CF-926C-3290EC292A61}"/>
          </ac:spMkLst>
        </pc:spChg>
        <pc:spChg chg="mod">
          <ac:chgData name="Oka, Dr. Dennis Kengo (JP)" userId="aeb014c5-2f18-4035-80ba-4d519a44d38a" providerId="ADAL" clId="{4937CA01-90DA-4D2B-AC0A-761D69F4697E}" dt="2025-05-20T11:34:17.650" v="1276"/>
          <ac:spMkLst>
            <pc:docMk/>
            <pc:sldMk cId="565694939" sldId="2147482807"/>
            <ac:spMk id="23" creationId="{BD8AD715-4AF1-0507-6466-2E6ECBEBFC76}"/>
          </ac:spMkLst>
        </pc:spChg>
        <pc:spChg chg="mod">
          <ac:chgData name="Oka, Dr. Dennis Kengo (JP)" userId="aeb014c5-2f18-4035-80ba-4d519a44d38a" providerId="ADAL" clId="{4937CA01-90DA-4D2B-AC0A-761D69F4697E}" dt="2025-05-20T11:34:20.695" v="1277" actId="1076"/>
          <ac:spMkLst>
            <pc:docMk/>
            <pc:sldMk cId="565694939" sldId="2147482807"/>
            <ac:spMk id="28" creationId="{84DE40A4-78F6-F47D-F74B-1D24D4B3638F}"/>
          </ac:spMkLst>
        </pc:spChg>
        <pc:spChg chg="mod">
          <ac:chgData name="Oka, Dr. Dennis Kengo (JP)" userId="aeb014c5-2f18-4035-80ba-4d519a44d38a" providerId="ADAL" clId="{4937CA01-90DA-4D2B-AC0A-761D69F4697E}" dt="2025-05-20T11:34:17.635" v="1273"/>
          <ac:spMkLst>
            <pc:docMk/>
            <pc:sldMk cId="565694939" sldId="2147482807"/>
            <ac:spMk id="30" creationId="{6E61A945-265F-00BD-0591-23D0F117EA9E}"/>
          </ac:spMkLst>
        </pc:spChg>
        <pc:spChg chg="mod">
          <ac:chgData name="Oka, Dr. Dennis Kengo (JP)" userId="aeb014c5-2f18-4035-80ba-4d519a44d38a" providerId="ADAL" clId="{4937CA01-90DA-4D2B-AC0A-761D69F4697E}" dt="2025-05-20T11:34:14.876" v="1263"/>
          <ac:spMkLst>
            <pc:docMk/>
            <pc:sldMk cId="565694939" sldId="2147482807"/>
            <ac:spMk id="33" creationId="{3942293E-266E-D6F9-405D-3A2E1F0F98F6}"/>
          </ac:spMkLst>
        </pc:spChg>
        <pc:spChg chg="add mod">
          <ac:chgData name="Oka, Dr. Dennis Kengo (JP)" userId="aeb014c5-2f18-4035-80ba-4d519a44d38a" providerId="ADAL" clId="{4937CA01-90DA-4D2B-AC0A-761D69F4697E}" dt="2025-05-20T11:36:06.049" v="1290"/>
          <ac:spMkLst>
            <pc:docMk/>
            <pc:sldMk cId="565694939" sldId="2147482807"/>
            <ac:spMk id="35" creationId="{C8F071A4-8C03-6B99-C859-059D1B6EB352}"/>
          </ac:spMkLst>
        </pc:spChg>
        <pc:grpChg chg="mod">
          <ac:chgData name="Oka, Dr. Dennis Kengo (JP)" userId="aeb014c5-2f18-4035-80ba-4d519a44d38a" providerId="ADAL" clId="{4937CA01-90DA-4D2B-AC0A-761D69F4697E}" dt="2025-05-20T11:34:20.695" v="1277" actId="1076"/>
          <ac:grpSpMkLst>
            <pc:docMk/>
            <pc:sldMk cId="565694939" sldId="2147482807"/>
            <ac:grpSpMk id="15" creationId="{84415759-4583-34B0-1525-72DD614D1F6C}"/>
          </ac:grpSpMkLst>
        </pc:grpChg>
        <pc:grpChg chg="mod">
          <ac:chgData name="Oka, Dr. Dennis Kengo (JP)" userId="aeb014c5-2f18-4035-80ba-4d519a44d38a" providerId="ADAL" clId="{4937CA01-90DA-4D2B-AC0A-761D69F4697E}" dt="2025-05-20T11:34:16.342" v="1267" actId="1076"/>
          <ac:grpSpMkLst>
            <pc:docMk/>
            <pc:sldMk cId="565694939" sldId="2147482807"/>
            <ac:grpSpMk id="19" creationId="{25438EE0-7C1B-CF60-05C1-18FFAE5AA7B5}"/>
          </ac:grpSpMkLst>
        </pc:grpChg>
        <pc:grpChg chg="mod">
          <ac:chgData name="Oka, Dr. Dennis Kengo (JP)" userId="aeb014c5-2f18-4035-80ba-4d519a44d38a" providerId="ADAL" clId="{4937CA01-90DA-4D2B-AC0A-761D69F4697E}" dt="2025-05-20T11:34:17.650" v="1274"/>
          <ac:grpSpMkLst>
            <pc:docMk/>
            <pc:sldMk cId="565694939" sldId="2147482807"/>
            <ac:grpSpMk id="22" creationId="{768476FC-93BF-6F4B-ED85-DD699450B84C}"/>
          </ac:grpSpMkLst>
        </pc:grpChg>
        <pc:grpChg chg="mod">
          <ac:chgData name="Oka, Dr. Dennis Kengo (JP)" userId="aeb014c5-2f18-4035-80ba-4d519a44d38a" providerId="ADAL" clId="{4937CA01-90DA-4D2B-AC0A-761D69F4697E}" dt="2025-05-20T11:34:17.635" v="1271"/>
          <ac:grpSpMkLst>
            <pc:docMk/>
            <pc:sldMk cId="565694939" sldId="2147482807"/>
            <ac:grpSpMk id="29" creationId="{86D4866A-FD05-D505-7FD1-AF0413222241}"/>
          </ac:grpSpMkLst>
        </pc:grpChg>
        <pc:grpChg chg="mod">
          <ac:chgData name="Oka, Dr. Dennis Kengo (JP)" userId="aeb014c5-2f18-4035-80ba-4d519a44d38a" providerId="ADAL" clId="{4937CA01-90DA-4D2B-AC0A-761D69F4697E}" dt="2025-05-20T11:34:16.342" v="1267" actId="1076"/>
          <ac:grpSpMkLst>
            <pc:docMk/>
            <pc:sldMk cId="565694939" sldId="2147482807"/>
            <ac:grpSpMk id="32" creationId="{1B023768-948F-5F2D-500F-A116D28214B4}"/>
          </ac:grpSpMkLst>
        </pc:grpChg>
        <pc:graphicFrameChg chg="del mod">
          <ac:chgData name="Oka, Dr. Dennis Kengo (JP)" userId="aeb014c5-2f18-4035-80ba-4d519a44d38a" providerId="ADAL" clId="{4937CA01-90DA-4D2B-AC0A-761D69F4697E}" dt="2025-05-20T11:30:40.565" v="1133" actId="478"/>
          <ac:graphicFrameMkLst>
            <pc:docMk/>
            <pc:sldMk cId="565694939" sldId="2147482807"/>
            <ac:graphicFrameMk id="9" creationId="{3D110CAD-65AE-6E6F-4E49-A8C5E3BB5241}"/>
          </ac:graphicFrameMkLst>
        </pc:graphicFrameChg>
        <pc:graphicFrameChg chg="del">
          <ac:chgData name="Oka, Dr. Dennis Kengo (JP)" userId="aeb014c5-2f18-4035-80ba-4d519a44d38a" providerId="ADAL" clId="{4937CA01-90DA-4D2B-AC0A-761D69F4697E}" dt="2025-05-20T11:29:51.600" v="1088" actId="478"/>
          <ac:graphicFrameMkLst>
            <pc:docMk/>
            <pc:sldMk cId="565694939" sldId="2147482807"/>
            <ac:graphicFrameMk id="10" creationId="{CF899DD0-F474-EE67-E8CB-64D2083CF348}"/>
          </ac:graphicFrameMkLst>
        </pc:graphicFrameChg>
        <pc:graphicFrameChg chg="del">
          <ac:chgData name="Oka, Dr. Dennis Kengo (JP)" userId="aeb014c5-2f18-4035-80ba-4d519a44d38a" providerId="ADAL" clId="{4937CA01-90DA-4D2B-AC0A-761D69F4697E}" dt="2025-05-20T11:30:24.007" v="1112" actId="478"/>
          <ac:graphicFrameMkLst>
            <pc:docMk/>
            <pc:sldMk cId="565694939" sldId="2147482807"/>
            <ac:graphicFrameMk id="13" creationId="{3D5761A8-2072-584F-1E28-1BA42F90549F}"/>
          </ac:graphicFrameMkLst>
        </pc:graphicFrameChg>
        <pc:graphicFrameChg chg="del">
          <ac:chgData name="Oka, Dr. Dennis Kengo (JP)" userId="aeb014c5-2f18-4035-80ba-4d519a44d38a" providerId="ADAL" clId="{4937CA01-90DA-4D2B-AC0A-761D69F4697E}" dt="2025-05-20T11:30:18.238" v="1106" actId="478"/>
          <ac:graphicFrameMkLst>
            <pc:docMk/>
            <pc:sldMk cId="565694939" sldId="2147482807"/>
            <ac:graphicFrameMk id="14" creationId="{35C32F86-47FF-A9A3-DA66-2B60CF2B4954}"/>
          </ac:graphicFrameMkLst>
        </pc:graphicFrameChg>
        <pc:picChg chg="del">
          <ac:chgData name="Oka, Dr. Dennis Kengo (JP)" userId="aeb014c5-2f18-4035-80ba-4d519a44d38a" providerId="ADAL" clId="{4937CA01-90DA-4D2B-AC0A-761D69F4697E}" dt="2025-05-20T11:29:56.358" v="1093" actId="478"/>
          <ac:picMkLst>
            <pc:docMk/>
            <pc:sldMk cId="565694939" sldId="2147482807"/>
            <ac:picMk id="11" creationId="{2C9E80DC-EF3F-E097-774B-F6ACB8D552B7}"/>
          </ac:picMkLst>
        </pc:picChg>
        <pc:picChg chg="mod">
          <ac:chgData name="Oka, Dr. Dennis Kengo (JP)" userId="aeb014c5-2f18-4035-80ba-4d519a44d38a" providerId="ADAL" clId="{4937CA01-90DA-4D2B-AC0A-761D69F4697E}" dt="2025-05-20T11:33:48.561" v="1228"/>
          <ac:picMkLst>
            <pc:docMk/>
            <pc:sldMk cId="565694939" sldId="2147482807"/>
            <ac:picMk id="18" creationId="{02B0ECCB-0D02-D511-0E44-DA60427AB3BF}"/>
          </ac:picMkLst>
        </pc:picChg>
        <pc:picChg chg="mod">
          <ac:chgData name="Oka, Dr. Dennis Kengo (JP)" userId="aeb014c5-2f18-4035-80ba-4d519a44d38a" providerId="ADAL" clId="{4937CA01-90DA-4D2B-AC0A-761D69F4697E}" dt="2025-05-20T11:34:14.876" v="1265"/>
          <ac:picMkLst>
            <pc:docMk/>
            <pc:sldMk cId="565694939" sldId="2147482807"/>
            <ac:picMk id="21" creationId="{9515A21A-FE6C-B7F9-C035-0E8DF83B6BE2}"/>
          </ac:picMkLst>
        </pc:picChg>
        <pc:picChg chg="mod">
          <ac:chgData name="Oka, Dr. Dennis Kengo (JP)" userId="aeb014c5-2f18-4035-80ba-4d519a44d38a" providerId="ADAL" clId="{4937CA01-90DA-4D2B-AC0A-761D69F4697E}" dt="2025-05-20T11:34:17.650" v="1275"/>
          <ac:picMkLst>
            <pc:docMk/>
            <pc:sldMk cId="565694939" sldId="2147482807"/>
            <ac:picMk id="24" creationId="{BD3D185E-B4AC-4030-CA89-1AB742C59138}"/>
          </ac:picMkLst>
        </pc:picChg>
        <pc:picChg chg="mod">
          <ac:chgData name="Oka, Dr. Dennis Kengo (JP)" userId="aeb014c5-2f18-4035-80ba-4d519a44d38a" providerId="ADAL" clId="{4937CA01-90DA-4D2B-AC0A-761D69F4697E}" dt="2025-05-20T11:34:17.635" v="1272"/>
          <ac:picMkLst>
            <pc:docMk/>
            <pc:sldMk cId="565694939" sldId="2147482807"/>
            <ac:picMk id="31" creationId="{B7258D19-1B87-04A2-1688-F87BE6757F82}"/>
          </ac:picMkLst>
        </pc:picChg>
        <pc:picChg chg="mod">
          <ac:chgData name="Oka, Dr. Dennis Kengo (JP)" userId="aeb014c5-2f18-4035-80ba-4d519a44d38a" providerId="ADAL" clId="{4937CA01-90DA-4D2B-AC0A-761D69F4697E}" dt="2025-05-20T11:34:14.876" v="1262"/>
          <ac:picMkLst>
            <pc:docMk/>
            <pc:sldMk cId="565694939" sldId="2147482807"/>
            <ac:picMk id="34" creationId="{8B5322B3-8F65-E271-AF9F-ECD55B343EA6}"/>
          </ac:picMkLst>
        </pc:picChg>
        <pc:cxnChg chg="add mod">
          <ac:chgData name="Oka, Dr. Dennis Kengo (JP)" userId="aeb014c5-2f18-4035-80ba-4d519a44d38a" providerId="ADAL" clId="{4937CA01-90DA-4D2B-AC0A-761D69F4697E}" dt="2025-05-20T11:30:59.092" v="1140" actId="1582"/>
          <ac:cxnSpMkLst>
            <pc:docMk/>
            <pc:sldMk cId="565694939" sldId="2147482807"/>
            <ac:cxnSpMk id="26" creationId="{8FFAB4EF-8B85-767C-87BE-2E74EA248997}"/>
          </ac:cxnSpMkLst>
        </pc:cxnChg>
        <pc:cxnChg chg="add mod">
          <ac:chgData name="Oka, Dr. Dennis Kengo (JP)" userId="aeb014c5-2f18-4035-80ba-4d519a44d38a" providerId="ADAL" clId="{4937CA01-90DA-4D2B-AC0A-761D69F4697E}" dt="2025-05-20T11:31:01.890" v="1141" actId="571"/>
          <ac:cxnSpMkLst>
            <pc:docMk/>
            <pc:sldMk cId="565694939" sldId="2147482807"/>
            <ac:cxnSpMk id="27" creationId="{D42AFDC7-BA38-AC63-AAAC-44A2EF993C1F}"/>
          </ac:cxnSpMkLst>
        </pc:cxnChg>
      </pc:sldChg>
      <pc:sldChg chg="del mod modShow modNotesTx">
        <pc:chgData name="Oka, Dr. Dennis Kengo (JP)" userId="aeb014c5-2f18-4035-80ba-4d519a44d38a" providerId="ADAL" clId="{4937CA01-90DA-4D2B-AC0A-761D69F4697E}" dt="2025-05-20T18:40:05.278" v="5030" actId="2696"/>
        <pc:sldMkLst>
          <pc:docMk/>
          <pc:sldMk cId="2127656867" sldId="2147482808"/>
        </pc:sldMkLst>
      </pc:sldChg>
      <pc:sldChg chg="del mod modShow modNotesTx">
        <pc:chgData name="Oka, Dr. Dennis Kengo (JP)" userId="aeb014c5-2f18-4035-80ba-4d519a44d38a" providerId="ADAL" clId="{4937CA01-90DA-4D2B-AC0A-761D69F4697E}" dt="2025-05-20T18:40:05.278" v="5030" actId="2696"/>
        <pc:sldMkLst>
          <pc:docMk/>
          <pc:sldMk cId="971620359" sldId="2147482817"/>
        </pc:sldMkLst>
      </pc:sldChg>
      <pc:sldChg chg="modNotesTx">
        <pc:chgData name="Oka, Dr. Dennis Kengo (JP)" userId="aeb014c5-2f18-4035-80ba-4d519a44d38a" providerId="ADAL" clId="{4937CA01-90DA-4D2B-AC0A-761D69F4697E}" dt="2025-05-20T19:35:47.398" v="5160" actId="20577"/>
        <pc:sldMkLst>
          <pc:docMk/>
          <pc:sldMk cId="1176644387" sldId="2147482819"/>
        </pc:sldMkLst>
      </pc:sldChg>
      <pc:sldChg chg="delSp modSp mod modNotesTx">
        <pc:chgData name="Oka, Dr. Dennis Kengo (JP)" userId="aeb014c5-2f18-4035-80ba-4d519a44d38a" providerId="ADAL" clId="{4937CA01-90DA-4D2B-AC0A-761D69F4697E}" dt="2025-05-20T20:03:57.557" v="5736" actId="207"/>
        <pc:sldMkLst>
          <pc:docMk/>
          <pc:sldMk cId="1027660809" sldId="2147482831"/>
        </pc:sldMkLst>
        <pc:spChg chg="mod">
          <ac:chgData name="Oka, Dr. Dennis Kengo (JP)" userId="aeb014c5-2f18-4035-80ba-4d519a44d38a" providerId="ADAL" clId="{4937CA01-90DA-4D2B-AC0A-761D69F4697E}" dt="2025-05-20T20:03:57.557" v="5736" actId="207"/>
          <ac:spMkLst>
            <pc:docMk/>
            <pc:sldMk cId="1027660809" sldId="2147482831"/>
            <ac:spMk id="5" creationId="{724D9F25-3AA6-E202-C0A6-275DE7A1FA65}"/>
          </ac:spMkLst>
        </pc:spChg>
        <pc:spChg chg="mod">
          <ac:chgData name="Oka, Dr. Dennis Kengo (JP)" userId="aeb014c5-2f18-4035-80ba-4d519a44d38a" providerId="ADAL" clId="{4937CA01-90DA-4D2B-AC0A-761D69F4697E}" dt="2025-05-20T18:31:37.064" v="4929"/>
          <ac:spMkLst>
            <pc:docMk/>
            <pc:sldMk cId="1027660809" sldId="2147482831"/>
            <ac:spMk id="7" creationId="{FAB0C7A6-7271-3C66-B7B2-3EAF2C972922}"/>
          </ac:spMkLst>
        </pc:spChg>
        <pc:spChg chg="mod">
          <ac:chgData name="Oka, Dr. Dennis Kengo (JP)" userId="aeb014c5-2f18-4035-80ba-4d519a44d38a" providerId="ADAL" clId="{4937CA01-90DA-4D2B-AC0A-761D69F4697E}" dt="2025-05-20T18:31:51.700" v="4941" actId="1076"/>
          <ac:spMkLst>
            <pc:docMk/>
            <pc:sldMk cId="1027660809" sldId="2147482831"/>
            <ac:spMk id="16" creationId="{B9A94C88-CBC6-688A-31F3-C03E01F45DD2}"/>
          </ac:spMkLst>
        </pc:spChg>
        <pc:spChg chg="mod">
          <ac:chgData name="Oka, Dr. Dennis Kengo (JP)" userId="aeb014c5-2f18-4035-80ba-4d519a44d38a" providerId="ADAL" clId="{4937CA01-90DA-4D2B-AC0A-761D69F4697E}" dt="2025-05-20T18:31:53.112" v="4945" actId="1076"/>
          <ac:spMkLst>
            <pc:docMk/>
            <pc:sldMk cId="1027660809" sldId="2147482831"/>
            <ac:spMk id="28" creationId="{7D9CFD2B-82A9-96F7-04FE-40680634FAE8}"/>
          </ac:spMkLst>
        </pc:spChg>
        <pc:grpChg chg="del mod">
          <ac:chgData name="Oka, Dr. Dennis Kengo (JP)" userId="aeb014c5-2f18-4035-80ba-4d519a44d38a" providerId="ADAL" clId="{4937CA01-90DA-4D2B-AC0A-761D69F4697E}" dt="2025-05-20T18:31:38.398" v="4930" actId="478"/>
          <ac:grpSpMkLst>
            <pc:docMk/>
            <pc:sldMk cId="1027660809" sldId="2147482831"/>
            <ac:grpSpMk id="6" creationId="{2503BC8F-0D77-36A7-A381-967F96804D31}"/>
          </ac:grpSpMkLst>
        </pc:grpChg>
        <pc:grpChg chg="mod">
          <ac:chgData name="Oka, Dr. Dennis Kengo (JP)" userId="aeb014c5-2f18-4035-80ba-4d519a44d38a" providerId="ADAL" clId="{4937CA01-90DA-4D2B-AC0A-761D69F4697E}" dt="2025-05-20T18:31:51.700" v="4941" actId="1076"/>
          <ac:grpSpMkLst>
            <pc:docMk/>
            <pc:sldMk cId="1027660809" sldId="2147482831"/>
            <ac:grpSpMk id="15" creationId="{B21C922E-241E-871F-4DCC-6056384040B4}"/>
          </ac:grpSpMkLst>
        </pc:grpChg>
        <pc:grpChg chg="mod">
          <ac:chgData name="Oka, Dr. Dennis Kengo (JP)" userId="aeb014c5-2f18-4035-80ba-4d519a44d38a" providerId="ADAL" clId="{4937CA01-90DA-4D2B-AC0A-761D69F4697E}" dt="2025-05-20T18:31:53.112" v="4945" actId="1076"/>
          <ac:grpSpMkLst>
            <pc:docMk/>
            <pc:sldMk cId="1027660809" sldId="2147482831"/>
            <ac:grpSpMk id="27" creationId="{FE162FBE-A53C-B270-4D85-58ED45D3B115}"/>
          </ac:grpSpMkLst>
        </pc:grpChg>
        <pc:grpChg chg="del">
          <ac:chgData name="Oka, Dr. Dennis Kengo (JP)" userId="aeb014c5-2f18-4035-80ba-4d519a44d38a" providerId="ADAL" clId="{4937CA01-90DA-4D2B-AC0A-761D69F4697E}" dt="2025-05-20T18:31:41.949" v="4931" actId="478"/>
          <ac:grpSpMkLst>
            <pc:docMk/>
            <pc:sldMk cId="1027660809" sldId="2147482831"/>
            <ac:grpSpMk id="46" creationId="{0F44CEAD-9E6B-9BE2-4DFB-7E65BAA0B373}"/>
          </ac:grpSpMkLst>
        </pc:grpChg>
        <pc:picChg chg="mod">
          <ac:chgData name="Oka, Dr. Dennis Kengo (JP)" userId="aeb014c5-2f18-4035-80ba-4d519a44d38a" providerId="ADAL" clId="{4937CA01-90DA-4D2B-AC0A-761D69F4697E}" dt="2025-05-20T18:31:37.064" v="4928"/>
          <ac:picMkLst>
            <pc:docMk/>
            <pc:sldMk cId="1027660809" sldId="2147482831"/>
            <ac:picMk id="8" creationId="{6B1F4D02-F5AE-0997-5D3C-C8F4DE81543E}"/>
          </ac:picMkLst>
        </pc:picChg>
        <pc:picChg chg="mod">
          <ac:chgData name="Oka, Dr. Dennis Kengo (JP)" userId="aeb014c5-2f18-4035-80ba-4d519a44d38a" providerId="ADAL" clId="{4937CA01-90DA-4D2B-AC0A-761D69F4697E}" dt="2025-05-20T18:31:51.700" v="4941" actId="1076"/>
          <ac:picMkLst>
            <pc:docMk/>
            <pc:sldMk cId="1027660809" sldId="2147482831"/>
            <ac:picMk id="17" creationId="{90366635-27FA-7C5E-3FCC-16A2EE5C6D45}"/>
          </ac:picMkLst>
        </pc:picChg>
        <pc:picChg chg="mod">
          <ac:chgData name="Oka, Dr. Dennis Kengo (JP)" userId="aeb014c5-2f18-4035-80ba-4d519a44d38a" providerId="ADAL" clId="{4937CA01-90DA-4D2B-AC0A-761D69F4697E}" dt="2025-05-20T18:31:53.112" v="4945" actId="1076"/>
          <ac:picMkLst>
            <pc:docMk/>
            <pc:sldMk cId="1027660809" sldId="2147482831"/>
            <ac:picMk id="29" creationId="{25C41ADD-051C-A854-3E5B-E75B27CA10B4}"/>
          </ac:picMkLst>
        </pc:picChg>
      </pc:sldChg>
      <pc:sldChg chg="modNotesTx">
        <pc:chgData name="Oka, Dr. Dennis Kengo (JP)" userId="aeb014c5-2f18-4035-80ba-4d519a44d38a" providerId="ADAL" clId="{4937CA01-90DA-4D2B-AC0A-761D69F4697E}" dt="2025-05-20T19:41:40.842" v="5263" actId="20577"/>
        <pc:sldMkLst>
          <pc:docMk/>
          <pc:sldMk cId="1846052887" sldId="2147482833"/>
        </pc:sldMkLst>
      </pc:sldChg>
      <pc:sldChg chg="modNotesTx">
        <pc:chgData name="Oka, Dr. Dennis Kengo (JP)" userId="aeb014c5-2f18-4035-80ba-4d519a44d38a" providerId="ADAL" clId="{4937CA01-90DA-4D2B-AC0A-761D69F4697E}" dt="2025-05-20T19:41:48.665" v="5265" actId="20577"/>
        <pc:sldMkLst>
          <pc:docMk/>
          <pc:sldMk cId="1849794710" sldId="2147482834"/>
        </pc:sldMkLst>
      </pc:sldChg>
      <pc:sldChg chg="modSp mod modNotesTx">
        <pc:chgData name="Oka, Dr. Dennis Kengo (JP)" userId="aeb014c5-2f18-4035-80ba-4d519a44d38a" providerId="ADAL" clId="{4937CA01-90DA-4D2B-AC0A-761D69F4697E}" dt="2025-05-20T19:41:55.228" v="5267" actId="20577"/>
        <pc:sldMkLst>
          <pc:docMk/>
          <pc:sldMk cId="3712789392" sldId="2147482836"/>
        </pc:sldMkLst>
        <pc:graphicFrameChg chg="modGraphic">
          <ac:chgData name="Oka, Dr. Dennis Kengo (JP)" userId="aeb014c5-2f18-4035-80ba-4d519a44d38a" providerId="ADAL" clId="{4937CA01-90DA-4D2B-AC0A-761D69F4697E}" dt="2025-05-20T18:29:15.413" v="4899" actId="20577"/>
          <ac:graphicFrameMkLst>
            <pc:docMk/>
            <pc:sldMk cId="3712789392" sldId="2147482836"/>
            <ac:graphicFrameMk id="11" creationId="{E03A30CD-A273-8E4A-E91F-DA0AE95D1CAC}"/>
          </ac:graphicFrameMkLst>
        </pc:graphicFrameChg>
      </pc:sldChg>
      <pc:sldChg chg="del">
        <pc:chgData name="Oka, Dr. Dennis Kengo (JP)" userId="aeb014c5-2f18-4035-80ba-4d519a44d38a" providerId="ADAL" clId="{4937CA01-90DA-4D2B-AC0A-761D69F4697E}" dt="2025-05-20T18:28:27.991" v="4898" actId="47"/>
        <pc:sldMkLst>
          <pc:docMk/>
          <pc:sldMk cId="471766369" sldId="2147482838"/>
        </pc:sldMkLst>
      </pc:sldChg>
      <pc:sldChg chg="del">
        <pc:chgData name="Oka, Dr. Dennis Kengo (JP)" userId="aeb014c5-2f18-4035-80ba-4d519a44d38a" providerId="ADAL" clId="{4937CA01-90DA-4D2B-AC0A-761D69F4697E}" dt="2025-05-20T11:45:11.206" v="1727" actId="47"/>
        <pc:sldMkLst>
          <pc:docMk/>
          <pc:sldMk cId="2792073922" sldId="2147482839"/>
        </pc:sldMkLst>
      </pc:sldChg>
      <pc:sldChg chg="modSp">
        <pc:chgData name="Oka, Dr. Dennis Kengo (JP)" userId="aeb014c5-2f18-4035-80ba-4d519a44d38a" providerId="ADAL" clId="{4937CA01-90DA-4D2B-AC0A-761D69F4697E}" dt="2025-05-20T19:25:05.895" v="5061" actId="255"/>
        <pc:sldMkLst>
          <pc:docMk/>
          <pc:sldMk cId="1434685953" sldId="2147482840"/>
        </pc:sldMkLst>
        <pc:graphicFrameChg chg="mod">
          <ac:chgData name="Oka, Dr. Dennis Kengo (JP)" userId="aeb014c5-2f18-4035-80ba-4d519a44d38a" providerId="ADAL" clId="{4937CA01-90DA-4D2B-AC0A-761D69F4697E}" dt="2025-05-20T19:25:05.895" v="5061" actId="255"/>
          <ac:graphicFrameMkLst>
            <pc:docMk/>
            <pc:sldMk cId="1434685953" sldId="2147482840"/>
            <ac:graphicFrameMk id="5" creationId="{308ADF5E-F111-E2CC-A3B7-D78DED63B97F}"/>
          </ac:graphicFrameMkLst>
        </pc:graphicFrameChg>
      </pc:sldChg>
      <pc:sldChg chg="del">
        <pc:chgData name="Oka, Dr. Dennis Kengo (JP)" userId="aeb014c5-2f18-4035-80ba-4d519a44d38a" providerId="ADAL" clId="{4937CA01-90DA-4D2B-AC0A-761D69F4697E}" dt="2025-05-20T11:45:13.587" v="1728" actId="47"/>
        <pc:sldMkLst>
          <pc:docMk/>
          <pc:sldMk cId="4133341193" sldId="2147482841"/>
        </pc:sldMkLst>
      </pc:sldChg>
      <pc:sldChg chg="addSp delSp modSp mod modClrScheme chgLayout modNotesTx">
        <pc:chgData name="Oka, Dr. Dennis Kengo (JP)" userId="aeb014c5-2f18-4035-80ba-4d519a44d38a" providerId="ADAL" clId="{4937CA01-90DA-4D2B-AC0A-761D69F4697E}" dt="2025-05-20T19:54:47.032" v="5624" actId="20577"/>
        <pc:sldMkLst>
          <pc:docMk/>
          <pc:sldMk cId="2650915617" sldId="2147482842"/>
        </pc:sldMkLst>
        <pc:spChg chg="mod ord">
          <ac:chgData name="Oka, Dr. Dennis Kengo (JP)" userId="aeb014c5-2f18-4035-80ba-4d519a44d38a" providerId="ADAL" clId="{4937CA01-90DA-4D2B-AC0A-761D69F4697E}" dt="2025-05-20T18:30:30.091" v="4915" actId="20577"/>
          <ac:spMkLst>
            <pc:docMk/>
            <pc:sldMk cId="2650915617" sldId="2147482842"/>
            <ac:spMk id="2" creationId="{6F1F25B7-09B7-1879-7362-EFA4813BF8AB}"/>
          </ac:spMkLst>
        </pc:spChg>
        <pc:spChg chg="del mod ord">
          <ac:chgData name="Oka, Dr. Dennis Kengo (JP)" userId="aeb014c5-2f18-4035-80ba-4d519a44d38a" providerId="ADAL" clId="{4937CA01-90DA-4D2B-AC0A-761D69F4697E}" dt="2025-05-20T19:51:54.917" v="5497" actId="478"/>
          <ac:spMkLst>
            <pc:docMk/>
            <pc:sldMk cId="2650915617" sldId="2147482842"/>
            <ac:spMk id="3" creationId="{E03F3B31-7BC6-FAB8-17EE-CC36BCFA150A}"/>
          </ac:spMkLst>
        </pc:spChg>
        <pc:spChg chg="mod ord">
          <ac:chgData name="Oka, Dr. Dennis Kengo (JP)" userId="aeb014c5-2f18-4035-80ba-4d519a44d38a" providerId="ADAL" clId="{4937CA01-90DA-4D2B-AC0A-761D69F4697E}" dt="2025-05-20T18:23:17.339" v="4806" actId="700"/>
          <ac:spMkLst>
            <pc:docMk/>
            <pc:sldMk cId="2650915617" sldId="2147482842"/>
            <ac:spMk id="4" creationId="{5F59772C-3102-1279-3468-8E93AC7AEFDA}"/>
          </ac:spMkLst>
        </pc:spChg>
        <pc:spChg chg="add mod ord">
          <ac:chgData name="Oka, Dr. Dennis Kengo (JP)" userId="aeb014c5-2f18-4035-80ba-4d519a44d38a" providerId="ADAL" clId="{4937CA01-90DA-4D2B-AC0A-761D69F4697E}" dt="2025-05-20T19:24:13.076" v="5058" actId="1076"/>
          <ac:spMkLst>
            <pc:docMk/>
            <pc:sldMk cId="2650915617" sldId="2147482842"/>
            <ac:spMk id="5" creationId="{CA2D956C-CB32-AC2A-A5CC-4F7A34E3965C}"/>
          </ac:spMkLst>
        </pc:spChg>
        <pc:spChg chg="add mod">
          <ac:chgData name="Oka, Dr. Dennis Kengo (JP)" userId="aeb014c5-2f18-4035-80ba-4d519a44d38a" providerId="ADAL" clId="{4937CA01-90DA-4D2B-AC0A-761D69F4697E}" dt="2025-05-20T19:51:55.152" v="5498"/>
          <ac:spMkLst>
            <pc:docMk/>
            <pc:sldMk cId="2650915617" sldId="2147482842"/>
            <ac:spMk id="6" creationId="{16FDFD61-8A30-A196-D4D5-789926C33E57}"/>
          </ac:spMkLst>
        </pc:spChg>
        <pc:spChg chg="mod">
          <ac:chgData name="Oka, Dr. Dennis Kengo (JP)" userId="aeb014c5-2f18-4035-80ba-4d519a44d38a" providerId="ADAL" clId="{4937CA01-90DA-4D2B-AC0A-761D69F4697E}" dt="2025-05-20T18:25:56.659" v="4863"/>
          <ac:spMkLst>
            <pc:docMk/>
            <pc:sldMk cId="2650915617" sldId="2147482842"/>
            <ac:spMk id="7" creationId="{04D98A3A-0329-AA36-8BDC-AD5C24C5EA1F}"/>
          </ac:spMkLst>
        </pc:spChg>
        <pc:spChg chg="add mod">
          <ac:chgData name="Oka, Dr. Dennis Kengo (JP)" userId="aeb014c5-2f18-4035-80ba-4d519a44d38a" providerId="ADAL" clId="{4937CA01-90DA-4D2B-AC0A-761D69F4697E}" dt="2025-05-20T19:54:47.032" v="5624" actId="20577"/>
          <ac:spMkLst>
            <pc:docMk/>
            <pc:sldMk cId="2650915617" sldId="2147482842"/>
            <ac:spMk id="7" creationId="{4F295D28-76C2-5861-0EDD-89CB48EBE85D}"/>
          </ac:spMkLst>
        </pc:spChg>
        <pc:spChg chg="mod">
          <ac:chgData name="Oka, Dr. Dennis Kengo (JP)" userId="aeb014c5-2f18-4035-80ba-4d519a44d38a" providerId="ADAL" clId="{4937CA01-90DA-4D2B-AC0A-761D69F4697E}" dt="2025-05-20T19:24:05.203" v="5049"/>
          <ac:spMkLst>
            <pc:docMk/>
            <pc:sldMk cId="2650915617" sldId="2147482842"/>
            <ac:spMk id="10" creationId="{F12D5FEA-748A-7172-D0BC-434C4EF1E920}"/>
          </ac:spMkLst>
        </pc:spChg>
        <pc:spChg chg="mod">
          <ac:chgData name="Oka, Dr. Dennis Kengo (JP)" userId="aeb014c5-2f18-4035-80ba-4d519a44d38a" providerId="ADAL" clId="{4937CA01-90DA-4D2B-AC0A-761D69F4697E}" dt="2025-05-20T19:24:05.203" v="5052"/>
          <ac:spMkLst>
            <pc:docMk/>
            <pc:sldMk cId="2650915617" sldId="2147482842"/>
            <ac:spMk id="13" creationId="{CCEC52FB-3CF2-707C-7DE3-74C3664DF435}"/>
          </ac:spMkLst>
        </pc:spChg>
        <pc:spChg chg="mod">
          <ac:chgData name="Oka, Dr. Dennis Kengo (JP)" userId="aeb014c5-2f18-4035-80ba-4d519a44d38a" providerId="ADAL" clId="{4937CA01-90DA-4D2B-AC0A-761D69F4697E}" dt="2025-05-20T19:24:05.203" v="5055"/>
          <ac:spMkLst>
            <pc:docMk/>
            <pc:sldMk cId="2650915617" sldId="2147482842"/>
            <ac:spMk id="16" creationId="{ECE01A91-7C9B-F598-21A0-5AAC00FFBEE3}"/>
          </ac:spMkLst>
        </pc:spChg>
        <pc:grpChg chg="del mod">
          <ac:chgData name="Oka, Dr. Dennis Kengo (JP)" userId="aeb014c5-2f18-4035-80ba-4d519a44d38a" providerId="ADAL" clId="{4937CA01-90DA-4D2B-AC0A-761D69F4697E}" dt="2025-05-20T18:25:57.382" v="4864" actId="478"/>
          <ac:grpSpMkLst>
            <pc:docMk/>
            <pc:sldMk cId="2650915617" sldId="2147482842"/>
            <ac:grpSpMk id="6" creationId="{A54F5564-3E67-84C3-117D-244EA0F7A446}"/>
          </ac:grpSpMkLst>
        </pc:grpChg>
        <pc:grpChg chg="mod">
          <ac:chgData name="Oka, Dr. Dennis Kengo (JP)" userId="aeb014c5-2f18-4035-80ba-4d519a44d38a" providerId="ADAL" clId="{4937CA01-90DA-4D2B-AC0A-761D69F4697E}" dt="2025-05-20T19:24:13.076" v="5058" actId="1076"/>
          <ac:grpSpMkLst>
            <pc:docMk/>
            <pc:sldMk cId="2650915617" sldId="2147482842"/>
            <ac:grpSpMk id="9" creationId="{36DC5849-F96F-B16C-C1B7-F3226AC1FA4C}"/>
          </ac:grpSpMkLst>
        </pc:grpChg>
        <pc:grpChg chg="mod">
          <ac:chgData name="Oka, Dr. Dennis Kengo (JP)" userId="aeb014c5-2f18-4035-80ba-4d519a44d38a" providerId="ADAL" clId="{4937CA01-90DA-4D2B-AC0A-761D69F4697E}" dt="2025-05-20T19:24:13.076" v="5058" actId="1076"/>
          <ac:grpSpMkLst>
            <pc:docMk/>
            <pc:sldMk cId="2650915617" sldId="2147482842"/>
            <ac:grpSpMk id="12" creationId="{AE3597D0-E448-8AA0-CDED-CC8C0B3395A6}"/>
          </ac:grpSpMkLst>
        </pc:grpChg>
        <pc:grpChg chg="mod">
          <ac:chgData name="Oka, Dr. Dennis Kengo (JP)" userId="aeb014c5-2f18-4035-80ba-4d519a44d38a" providerId="ADAL" clId="{4937CA01-90DA-4D2B-AC0A-761D69F4697E}" dt="2025-05-20T19:24:13.076" v="5058" actId="1076"/>
          <ac:grpSpMkLst>
            <pc:docMk/>
            <pc:sldMk cId="2650915617" sldId="2147482842"/>
            <ac:grpSpMk id="15" creationId="{C0A53E81-237F-7332-B813-E9B2B26F2968}"/>
          </ac:grpSpMkLst>
        </pc:grpChg>
        <pc:picChg chg="mod">
          <ac:chgData name="Oka, Dr. Dennis Kengo (JP)" userId="aeb014c5-2f18-4035-80ba-4d519a44d38a" providerId="ADAL" clId="{4937CA01-90DA-4D2B-AC0A-761D69F4697E}" dt="2025-05-20T18:25:56.659" v="4862"/>
          <ac:picMkLst>
            <pc:docMk/>
            <pc:sldMk cId="2650915617" sldId="2147482842"/>
            <ac:picMk id="8" creationId="{DFCA8415-474B-00B0-DCA6-EB5DFB726AA2}"/>
          </ac:picMkLst>
        </pc:picChg>
        <pc:picChg chg="mod">
          <ac:chgData name="Oka, Dr. Dennis Kengo (JP)" userId="aeb014c5-2f18-4035-80ba-4d519a44d38a" providerId="ADAL" clId="{4937CA01-90DA-4D2B-AC0A-761D69F4697E}" dt="2025-05-20T19:24:05.203" v="5048"/>
          <ac:picMkLst>
            <pc:docMk/>
            <pc:sldMk cId="2650915617" sldId="2147482842"/>
            <ac:picMk id="11" creationId="{CB7E57ED-9153-5FC3-221E-B28C2CEC5AD4}"/>
          </ac:picMkLst>
        </pc:picChg>
        <pc:picChg chg="mod">
          <ac:chgData name="Oka, Dr. Dennis Kengo (JP)" userId="aeb014c5-2f18-4035-80ba-4d519a44d38a" providerId="ADAL" clId="{4937CA01-90DA-4D2B-AC0A-761D69F4697E}" dt="2025-05-20T19:24:05.203" v="5051"/>
          <ac:picMkLst>
            <pc:docMk/>
            <pc:sldMk cId="2650915617" sldId="2147482842"/>
            <ac:picMk id="14" creationId="{BBB13642-E80E-B8A2-1515-503E8CDF3CA3}"/>
          </ac:picMkLst>
        </pc:picChg>
        <pc:picChg chg="mod">
          <ac:chgData name="Oka, Dr. Dennis Kengo (JP)" userId="aeb014c5-2f18-4035-80ba-4d519a44d38a" providerId="ADAL" clId="{4937CA01-90DA-4D2B-AC0A-761D69F4697E}" dt="2025-05-20T19:24:05.203" v="5054"/>
          <ac:picMkLst>
            <pc:docMk/>
            <pc:sldMk cId="2650915617" sldId="2147482842"/>
            <ac:picMk id="17" creationId="{D51D27C1-D116-75FA-5834-3FA7A5399989}"/>
          </ac:picMkLst>
        </pc:picChg>
      </pc:sldChg>
      <pc:sldChg chg="del">
        <pc:chgData name="Oka, Dr. Dennis Kengo (JP)" userId="aeb014c5-2f18-4035-80ba-4d519a44d38a" providerId="ADAL" clId="{4937CA01-90DA-4D2B-AC0A-761D69F4697E}" dt="2025-05-20T17:26:08.752" v="2828" actId="47"/>
        <pc:sldMkLst>
          <pc:docMk/>
          <pc:sldMk cId="192116302" sldId="2147482843"/>
        </pc:sldMkLst>
      </pc:sldChg>
      <pc:sldChg chg="del">
        <pc:chgData name="Oka, Dr. Dennis Kengo (JP)" userId="aeb014c5-2f18-4035-80ba-4d519a44d38a" providerId="ADAL" clId="{4937CA01-90DA-4D2B-AC0A-761D69F4697E}" dt="2025-05-20T11:45:17.337" v="1729" actId="47"/>
        <pc:sldMkLst>
          <pc:docMk/>
          <pc:sldMk cId="1583984836" sldId="2147482844"/>
        </pc:sldMkLst>
      </pc:sldChg>
      <pc:sldChg chg="addSp delSp modSp mod modAnim modNotesTx">
        <pc:chgData name="Oka, Dr. Dennis Kengo (JP)" userId="aeb014c5-2f18-4035-80ba-4d519a44d38a" providerId="ADAL" clId="{4937CA01-90DA-4D2B-AC0A-761D69F4697E}" dt="2025-05-20T19:57:31.570" v="5654"/>
        <pc:sldMkLst>
          <pc:docMk/>
          <pc:sldMk cId="136886804" sldId="2147482845"/>
        </pc:sldMkLst>
        <pc:spChg chg="mod">
          <ac:chgData name="Oka, Dr. Dennis Kengo (JP)" userId="aeb014c5-2f18-4035-80ba-4d519a44d38a" providerId="ADAL" clId="{4937CA01-90DA-4D2B-AC0A-761D69F4697E}" dt="2025-05-20T19:26:45.806" v="5077" actId="20577"/>
          <ac:spMkLst>
            <pc:docMk/>
            <pc:sldMk cId="136886804" sldId="2147482845"/>
            <ac:spMk id="2" creationId="{899700D4-C2EC-16AB-8A90-AB7ACF25CFED}"/>
          </ac:spMkLst>
        </pc:spChg>
        <pc:spChg chg="del">
          <ac:chgData name="Oka, Dr. Dennis Kengo (JP)" userId="aeb014c5-2f18-4035-80ba-4d519a44d38a" providerId="ADAL" clId="{4937CA01-90DA-4D2B-AC0A-761D69F4697E}" dt="2025-05-20T19:29:34.031" v="5087" actId="478"/>
          <ac:spMkLst>
            <pc:docMk/>
            <pc:sldMk cId="136886804" sldId="2147482845"/>
            <ac:spMk id="3" creationId="{A38A4594-CE86-5C14-C6E2-8C0E78B6002E}"/>
          </ac:spMkLst>
        </pc:spChg>
        <pc:spChg chg="add mod">
          <ac:chgData name="Oka, Dr. Dennis Kengo (JP)" userId="aeb014c5-2f18-4035-80ba-4d519a44d38a" providerId="ADAL" clId="{4937CA01-90DA-4D2B-AC0A-761D69F4697E}" dt="2025-05-20T16:53:28.725" v="1752" actId="207"/>
          <ac:spMkLst>
            <pc:docMk/>
            <pc:sldMk cId="136886804" sldId="2147482845"/>
            <ac:spMk id="5" creationId="{D0D5E14B-82D5-DB10-EA76-35CCCF83519C}"/>
          </ac:spMkLst>
        </pc:spChg>
        <pc:spChg chg="add mod">
          <ac:chgData name="Oka, Dr. Dennis Kengo (JP)" userId="aeb014c5-2f18-4035-80ba-4d519a44d38a" providerId="ADAL" clId="{4937CA01-90DA-4D2B-AC0A-761D69F4697E}" dt="2025-05-20T16:53:16.785" v="1751" actId="207"/>
          <ac:spMkLst>
            <pc:docMk/>
            <pc:sldMk cId="136886804" sldId="2147482845"/>
            <ac:spMk id="6" creationId="{1B0E50D2-7851-541A-471D-00C6CB13BECA}"/>
          </ac:spMkLst>
        </pc:spChg>
        <pc:spChg chg="add mod">
          <ac:chgData name="Oka, Dr. Dennis Kengo (JP)" userId="aeb014c5-2f18-4035-80ba-4d519a44d38a" providerId="ADAL" clId="{4937CA01-90DA-4D2B-AC0A-761D69F4697E}" dt="2025-05-20T16:53:28.725" v="1752" actId="207"/>
          <ac:spMkLst>
            <pc:docMk/>
            <pc:sldMk cId="136886804" sldId="2147482845"/>
            <ac:spMk id="7" creationId="{5ACADD31-6E48-6F52-D602-7480D7C1C95C}"/>
          </ac:spMkLst>
        </pc:spChg>
        <pc:spChg chg="add mod">
          <ac:chgData name="Oka, Dr. Dennis Kengo (JP)" userId="aeb014c5-2f18-4035-80ba-4d519a44d38a" providerId="ADAL" clId="{4937CA01-90DA-4D2B-AC0A-761D69F4697E}" dt="2025-05-20T19:29:34.192" v="5088"/>
          <ac:spMkLst>
            <pc:docMk/>
            <pc:sldMk cId="136886804" sldId="2147482845"/>
            <ac:spMk id="8" creationId="{74CBE8CE-61CD-9697-0B20-04F1724DE040}"/>
          </ac:spMkLst>
        </pc:spChg>
        <pc:spChg chg="add mod">
          <ac:chgData name="Oka, Dr. Dennis Kengo (JP)" userId="aeb014c5-2f18-4035-80ba-4d519a44d38a" providerId="ADAL" clId="{4937CA01-90DA-4D2B-AC0A-761D69F4697E}" dt="2025-05-20T19:29:38.829" v="5089"/>
          <ac:spMkLst>
            <pc:docMk/>
            <pc:sldMk cId="136886804" sldId="2147482845"/>
            <ac:spMk id="9" creationId="{0B80ED2B-5AF2-1674-855A-35603969D2B5}"/>
          </ac:spMkLst>
        </pc:spChg>
        <pc:spChg chg="add mod">
          <ac:chgData name="Oka, Dr. Dennis Kengo (JP)" userId="aeb014c5-2f18-4035-80ba-4d519a44d38a" providerId="ADAL" clId="{4937CA01-90DA-4D2B-AC0A-761D69F4697E}" dt="2025-05-20T11:08:35.850" v="308" actId="1076"/>
          <ac:spMkLst>
            <pc:docMk/>
            <pc:sldMk cId="136886804" sldId="2147482845"/>
            <ac:spMk id="12" creationId="{6FA24412-5F6C-4345-7300-C1F260A78A71}"/>
          </ac:spMkLst>
        </pc:spChg>
        <pc:spChg chg="add mod">
          <ac:chgData name="Oka, Dr. Dennis Kengo (JP)" userId="aeb014c5-2f18-4035-80ba-4d519a44d38a" providerId="ADAL" clId="{4937CA01-90DA-4D2B-AC0A-761D69F4697E}" dt="2025-05-20T11:08:33.669" v="307" actId="1076"/>
          <ac:spMkLst>
            <pc:docMk/>
            <pc:sldMk cId="136886804" sldId="2147482845"/>
            <ac:spMk id="13" creationId="{17B03E7D-5500-DEA3-F153-0A594441FC64}"/>
          </ac:spMkLst>
        </pc:spChg>
        <pc:spChg chg="add mod">
          <ac:chgData name="Oka, Dr. Dennis Kengo (JP)" userId="aeb014c5-2f18-4035-80ba-4d519a44d38a" providerId="ADAL" clId="{4937CA01-90DA-4D2B-AC0A-761D69F4697E}" dt="2025-05-20T11:08:31.016" v="306" actId="1076"/>
          <ac:spMkLst>
            <pc:docMk/>
            <pc:sldMk cId="136886804" sldId="2147482845"/>
            <ac:spMk id="14" creationId="{E494AA9C-6CC1-CB56-317A-ADFF33B3FF22}"/>
          </ac:spMkLst>
        </pc:spChg>
        <pc:spChg chg="del mod">
          <ac:chgData name="Oka, Dr. Dennis Kengo (JP)" userId="aeb014c5-2f18-4035-80ba-4d519a44d38a" providerId="ADAL" clId="{4937CA01-90DA-4D2B-AC0A-761D69F4697E}" dt="2025-05-20T11:07:52.999" v="294" actId="478"/>
          <ac:spMkLst>
            <pc:docMk/>
            <pc:sldMk cId="136886804" sldId="2147482845"/>
            <ac:spMk id="18" creationId="{2C87C036-03FD-347E-EE4C-7225BE1ADB91}"/>
          </ac:spMkLst>
        </pc:spChg>
        <pc:spChg chg="del mod">
          <ac:chgData name="Oka, Dr. Dennis Kengo (JP)" userId="aeb014c5-2f18-4035-80ba-4d519a44d38a" providerId="ADAL" clId="{4937CA01-90DA-4D2B-AC0A-761D69F4697E}" dt="2025-05-20T11:07:52.208" v="293" actId="478"/>
          <ac:spMkLst>
            <pc:docMk/>
            <pc:sldMk cId="136886804" sldId="2147482845"/>
            <ac:spMk id="19" creationId="{8C63E860-FA2F-8E1C-7DDB-63A627AD1C03}"/>
          </ac:spMkLst>
        </pc:spChg>
        <pc:spChg chg="add mod">
          <ac:chgData name="Oka, Dr. Dennis Kengo (JP)" userId="aeb014c5-2f18-4035-80ba-4d519a44d38a" providerId="ADAL" clId="{4937CA01-90DA-4D2B-AC0A-761D69F4697E}" dt="2025-05-20T11:08:03.144" v="297" actId="571"/>
          <ac:spMkLst>
            <pc:docMk/>
            <pc:sldMk cId="136886804" sldId="2147482845"/>
            <ac:spMk id="20" creationId="{330E5795-8E31-4F64-5683-8E748B9D2A42}"/>
          </ac:spMkLst>
        </pc:spChg>
        <pc:spChg chg="add del mod">
          <ac:chgData name="Oka, Dr. Dennis Kengo (JP)" userId="aeb014c5-2f18-4035-80ba-4d519a44d38a" providerId="ADAL" clId="{4937CA01-90DA-4D2B-AC0A-761D69F4697E}" dt="2025-05-20T16:57:29.062" v="1821" actId="478"/>
          <ac:spMkLst>
            <pc:docMk/>
            <pc:sldMk cId="136886804" sldId="2147482845"/>
            <ac:spMk id="22" creationId="{EA1D41FC-547A-3D18-4667-830D700CD4B8}"/>
          </ac:spMkLst>
        </pc:spChg>
        <pc:spChg chg="mod topLvl">
          <ac:chgData name="Oka, Dr. Dennis Kengo (JP)" userId="aeb014c5-2f18-4035-80ba-4d519a44d38a" providerId="ADAL" clId="{4937CA01-90DA-4D2B-AC0A-761D69F4697E}" dt="2025-05-20T16:58:47.363" v="1849" actId="165"/>
          <ac:spMkLst>
            <pc:docMk/>
            <pc:sldMk cId="136886804" sldId="2147482845"/>
            <ac:spMk id="24" creationId="{48BC9122-5EA9-A001-5DBD-75F30683DB02}"/>
          </ac:spMkLst>
        </pc:spChg>
        <pc:spChg chg="del mod topLvl">
          <ac:chgData name="Oka, Dr. Dennis Kengo (JP)" userId="aeb014c5-2f18-4035-80ba-4d519a44d38a" providerId="ADAL" clId="{4937CA01-90DA-4D2B-AC0A-761D69F4697E}" dt="2025-05-20T16:59:26.745" v="1862" actId="478"/>
          <ac:spMkLst>
            <pc:docMk/>
            <pc:sldMk cId="136886804" sldId="2147482845"/>
            <ac:spMk id="27" creationId="{70827978-5F9F-7636-8A98-8E1D891E5D63}"/>
          </ac:spMkLst>
        </pc:spChg>
        <pc:spChg chg="del mod topLvl">
          <ac:chgData name="Oka, Dr. Dennis Kengo (JP)" userId="aeb014c5-2f18-4035-80ba-4d519a44d38a" providerId="ADAL" clId="{4937CA01-90DA-4D2B-AC0A-761D69F4697E}" dt="2025-05-20T16:59:32.894" v="1863" actId="478"/>
          <ac:spMkLst>
            <pc:docMk/>
            <pc:sldMk cId="136886804" sldId="2147482845"/>
            <ac:spMk id="28" creationId="{A6EFFDC5-7456-9481-C1EE-A48394A37E62}"/>
          </ac:spMkLst>
        </pc:spChg>
        <pc:grpChg chg="del mod">
          <ac:chgData name="Oka, Dr. Dennis Kengo (JP)" userId="aeb014c5-2f18-4035-80ba-4d519a44d38a" providerId="ADAL" clId="{4937CA01-90DA-4D2B-AC0A-761D69F4697E}" dt="2025-05-20T11:07:40.447" v="287" actId="27803"/>
          <ac:grpSpMkLst>
            <pc:docMk/>
            <pc:sldMk cId="136886804" sldId="2147482845"/>
            <ac:grpSpMk id="17" creationId="{D5DF8882-C7EF-6097-F44D-D9E628CD7A74}"/>
          </ac:grpSpMkLst>
        </pc:grpChg>
        <pc:grpChg chg="del mod">
          <ac:chgData name="Oka, Dr. Dennis Kengo (JP)" userId="aeb014c5-2f18-4035-80ba-4d519a44d38a" providerId="ADAL" clId="{4937CA01-90DA-4D2B-AC0A-761D69F4697E}" dt="2025-05-20T16:58:47.363" v="1849" actId="165"/>
          <ac:grpSpMkLst>
            <pc:docMk/>
            <pc:sldMk cId="136886804" sldId="2147482845"/>
            <ac:grpSpMk id="23" creationId="{39D911BD-864A-5210-ED7D-AC8C92EE4CE2}"/>
          </ac:grpSpMkLst>
        </pc:grpChg>
        <pc:grpChg chg="del mod">
          <ac:chgData name="Oka, Dr. Dennis Kengo (JP)" userId="aeb014c5-2f18-4035-80ba-4d519a44d38a" providerId="ADAL" clId="{4937CA01-90DA-4D2B-AC0A-761D69F4697E}" dt="2025-05-20T16:59:10.076" v="1855" actId="165"/>
          <ac:grpSpMkLst>
            <pc:docMk/>
            <pc:sldMk cId="136886804" sldId="2147482845"/>
            <ac:grpSpMk id="26" creationId="{0BEFC602-5016-C0FA-4EDF-97D63F4DC0D0}"/>
          </ac:grpSpMkLst>
        </pc:grpChg>
        <pc:graphicFrameChg chg="add del mod modGraphic">
          <ac:chgData name="Oka, Dr. Dennis Kengo (JP)" userId="aeb014c5-2f18-4035-80ba-4d519a44d38a" providerId="ADAL" clId="{4937CA01-90DA-4D2B-AC0A-761D69F4697E}" dt="2025-05-20T19:26:09.657" v="5064" actId="478"/>
          <ac:graphicFrameMkLst>
            <pc:docMk/>
            <pc:sldMk cId="136886804" sldId="2147482845"/>
            <ac:graphicFrameMk id="21" creationId="{101C9A6E-2CB2-3EB9-3571-4975BE14F8A9}"/>
          </ac:graphicFrameMkLst>
        </pc:graphicFrameChg>
        <pc:picChg chg="add del mod">
          <ac:chgData name="Oka, Dr. Dennis Kengo (JP)" userId="aeb014c5-2f18-4035-80ba-4d519a44d38a" providerId="ADAL" clId="{4937CA01-90DA-4D2B-AC0A-761D69F4697E}" dt="2025-05-20T10:59:13.474" v="112" actId="478"/>
          <ac:picMkLst>
            <pc:docMk/>
            <pc:sldMk cId="136886804" sldId="2147482845"/>
            <ac:picMk id="9" creationId="{A230AC0E-E01F-8010-6B1C-78621677A18C}"/>
          </ac:picMkLst>
        </pc:picChg>
        <pc:picChg chg="add del mod">
          <ac:chgData name="Oka, Dr. Dennis Kengo (JP)" userId="aeb014c5-2f18-4035-80ba-4d519a44d38a" providerId="ADAL" clId="{4937CA01-90DA-4D2B-AC0A-761D69F4697E}" dt="2025-05-20T11:00:30.662" v="124" actId="478"/>
          <ac:picMkLst>
            <pc:docMk/>
            <pc:sldMk cId="136886804" sldId="2147482845"/>
            <ac:picMk id="11" creationId="{4B1D4E54-26D1-63D6-46BD-F41CBA71B72F}"/>
          </ac:picMkLst>
        </pc:picChg>
        <pc:picChg chg="add del mod">
          <ac:chgData name="Oka, Dr. Dennis Kengo (JP)" userId="aeb014c5-2f18-4035-80ba-4d519a44d38a" providerId="ADAL" clId="{4937CA01-90DA-4D2B-AC0A-761D69F4697E}" dt="2025-05-20T11:07:40.447" v="287" actId="27803"/>
          <ac:picMkLst>
            <pc:docMk/>
            <pc:sldMk cId="136886804" sldId="2147482845"/>
            <ac:picMk id="16" creationId="{2CEBAB2B-D778-A392-868E-69AE3601D271}"/>
          </ac:picMkLst>
        </pc:picChg>
        <pc:picChg chg="del mod topLvl">
          <ac:chgData name="Oka, Dr. Dennis Kengo (JP)" userId="aeb014c5-2f18-4035-80ba-4d519a44d38a" providerId="ADAL" clId="{4937CA01-90DA-4D2B-AC0A-761D69F4697E}" dt="2025-05-20T16:58:58.460" v="1851" actId="27803"/>
          <ac:picMkLst>
            <pc:docMk/>
            <pc:sldMk cId="136886804" sldId="2147482845"/>
            <ac:picMk id="25" creationId="{4552E0A2-40AC-E96C-4FBB-3C579AD0337B}"/>
          </ac:picMkLst>
        </pc:picChg>
      </pc:sldChg>
      <pc:sldChg chg="addSp delSp modSp new mod modClrScheme chgLayout modNotesTx">
        <pc:chgData name="Oka, Dr. Dennis Kengo (JP)" userId="aeb014c5-2f18-4035-80ba-4d519a44d38a" providerId="ADAL" clId="{4937CA01-90DA-4D2B-AC0A-761D69F4697E}" dt="2025-05-20T19:42:08.257" v="5272" actId="20577"/>
        <pc:sldMkLst>
          <pc:docMk/>
          <pc:sldMk cId="4206437519" sldId="2147482846"/>
        </pc:sldMkLst>
        <pc:spChg chg="del mod ord">
          <ac:chgData name="Oka, Dr. Dennis Kengo (JP)" userId="aeb014c5-2f18-4035-80ba-4d519a44d38a" providerId="ADAL" clId="{4937CA01-90DA-4D2B-AC0A-761D69F4697E}" dt="2025-05-20T11:34:40.720" v="1280" actId="700"/>
          <ac:spMkLst>
            <pc:docMk/>
            <pc:sldMk cId="4206437519" sldId="2147482846"/>
            <ac:spMk id="2" creationId="{0C3C9B4F-1EA1-B1E5-6558-265C0EDA7F10}"/>
          </ac:spMkLst>
        </pc:spChg>
        <pc:spChg chg="add del mod ord">
          <ac:chgData name="Oka, Dr. Dennis Kengo (JP)" userId="aeb014c5-2f18-4035-80ba-4d519a44d38a" providerId="ADAL" clId="{4937CA01-90DA-4D2B-AC0A-761D69F4697E}" dt="2025-05-20T19:33:03.152" v="5134" actId="931"/>
          <ac:spMkLst>
            <pc:docMk/>
            <pc:sldMk cId="4206437519" sldId="2147482846"/>
            <ac:spMk id="2" creationId="{588BB9C6-CD08-43F0-17C5-30377406D7BA}"/>
          </ac:spMkLst>
        </pc:spChg>
        <pc:spChg chg="del">
          <ac:chgData name="Oka, Dr. Dennis Kengo (JP)" userId="aeb014c5-2f18-4035-80ba-4d519a44d38a" providerId="ADAL" clId="{4937CA01-90DA-4D2B-AC0A-761D69F4697E}" dt="2025-05-20T11:34:40.720" v="1280" actId="700"/>
          <ac:spMkLst>
            <pc:docMk/>
            <pc:sldMk cId="4206437519" sldId="2147482846"/>
            <ac:spMk id="3" creationId="{FFFE781F-BF14-7E65-62F1-9A049FDA8F7D}"/>
          </ac:spMkLst>
        </pc:spChg>
        <pc:spChg chg="del">
          <ac:chgData name="Oka, Dr. Dennis Kengo (JP)" userId="aeb014c5-2f18-4035-80ba-4d519a44d38a" providerId="ADAL" clId="{4937CA01-90DA-4D2B-AC0A-761D69F4697E}" dt="2025-05-20T11:34:40.720" v="1280" actId="700"/>
          <ac:spMkLst>
            <pc:docMk/>
            <pc:sldMk cId="4206437519" sldId="2147482846"/>
            <ac:spMk id="4" creationId="{3CEDED08-15DD-B8B3-E2B9-AA02D58029E0}"/>
          </ac:spMkLst>
        </pc:spChg>
        <pc:spChg chg="del">
          <ac:chgData name="Oka, Dr. Dennis Kengo (JP)" userId="aeb014c5-2f18-4035-80ba-4d519a44d38a" providerId="ADAL" clId="{4937CA01-90DA-4D2B-AC0A-761D69F4697E}" dt="2025-05-20T11:34:40.720" v="1280" actId="700"/>
          <ac:spMkLst>
            <pc:docMk/>
            <pc:sldMk cId="4206437519" sldId="2147482846"/>
            <ac:spMk id="5" creationId="{71CBDBB6-14FF-09A5-3382-3F2DCF60644A}"/>
          </ac:spMkLst>
        </pc:spChg>
        <pc:spChg chg="del">
          <ac:chgData name="Oka, Dr. Dennis Kengo (JP)" userId="aeb014c5-2f18-4035-80ba-4d519a44d38a" providerId="ADAL" clId="{4937CA01-90DA-4D2B-AC0A-761D69F4697E}" dt="2025-05-20T11:34:40.720" v="1280" actId="700"/>
          <ac:spMkLst>
            <pc:docMk/>
            <pc:sldMk cId="4206437519" sldId="2147482846"/>
            <ac:spMk id="6" creationId="{7F164513-0501-DA66-D7C4-1C71EF4FD184}"/>
          </ac:spMkLst>
        </pc:spChg>
        <pc:spChg chg="add del mod ord">
          <ac:chgData name="Oka, Dr. Dennis Kengo (JP)" userId="aeb014c5-2f18-4035-80ba-4d519a44d38a" providerId="ADAL" clId="{4937CA01-90DA-4D2B-AC0A-761D69F4697E}" dt="2025-05-20T11:44:19.239" v="1687" actId="700"/>
          <ac:spMkLst>
            <pc:docMk/>
            <pc:sldMk cId="4206437519" sldId="2147482846"/>
            <ac:spMk id="7" creationId="{135EA4CA-90E9-0A45-EA4B-8E4FAD1B16ED}"/>
          </ac:spMkLst>
        </pc:spChg>
        <pc:spChg chg="add mod ord">
          <ac:chgData name="Oka, Dr. Dennis Kengo (JP)" userId="aeb014c5-2f18-4035-80ba-4d519a44d38a" providerId="ADAL" clId="{4937CA01-90DA-4D2B-AC0A-761D69F4697E}" dt="2025-05-20T19:33:40.942" v="5136" actId="1076"/>
          <ac:spMkLst>
            <pc:docMk/>
            <pc:sldMk cId="4206437519" sldId="2147482846"/>
            <ac:spMk id="8" creationId="{378A2730-911A-32B7-327C-C8ADFDA090CD}"/>
          </ac:spMkLst>
        </pc:spChg>
        <pc:spChg chg="add del mod ord">
          <ac:chgData name="Oka, Dr. Dennis Kengo (JP)" userId="aeb014c5-2f18-4035-80ba-4d519a44d38a" providerId="ADAL" clId="{4937CA01-90DA-4D2B-AC0A-761D69F4697E}" dt="2025-05-20T19:32:06.296" v="5133" actId="700"/>
          <ac:spMkLst>
            <pc:docMk/>
            <pc:sldMk cId="4206437519" sldId="2147482846"/>
            <ac:spMk id="9" creationId="{E6FC5D9B-6E1C-36EE-9EAD-F5FB31BB8FDC}"/>
          </ac:spMkLst>
        </pc:spChg>
        <pc:picChg chg="add mod">
          <ac:chgData name="Oka, Dr. Dennis Kengo (JP)" userId="aeb014c5-2f18-4035-80ba-4d519a44d38a" providerId="ADAL" clId="{4937CA01-90DA-4D2B-AC0A-761D69F4697E}" dt="2025-05-20T19:33:03.152" v="5134" actId="931"/>
          <ac:picMkLst>
            <pc:docMk/>
            <pc:sldMk cId="4206437519" sldId="2147482846"/>
            <ac:picMk id="4" creationId="{27E7A656-E732-3AD0-EB07-9089DEB7936C}"/>
          </ac:picMkLst>
        </pc:picChg>
      </pc:sldChg>
      <pc:sldChg chg="addSp delSp modSp add mod modAnim modNotesTx">
        <pc:chgData name="Oka, Dr. Dennis Kengo (JP)" userId="aeb014c5-2f18-4035-80ba-4d519a44d38a" providerId="ADAL" clId="{4937CA01-90DA-4D2B-AC0A-761D69F4697E}" dt="2025-05-20T19:46:19.771" v="5467" actId="20577"/>
        <pc:sldMkLst>
          <pc:docMk/>
          <pc:sldMk cId="761153170" sldId="2147482847"/>
        </pc:sldMkLst>
        <pc:spChg chg="mod">
          <ac:chgData name="Oka, Dr. Dennis Kengo (JP)" userId="aeb014c5-2f18-4035-80ba-4d519a44d38a" providerId="ADAL" clId="{4937CA01-90DA-4D2B-AC0A-761D69F4697E}" dt="2025-05-20T11:44:08.635" v="1686" actId="20577"/>
          <ac:spMkLst>
            <pc:docMk/>
            <pc:sldMk cId="761153170" sldId="2147482847"/>
            <ac:spMk id="2" creationId="{7A80632C-C4BA-DDCC-5C2B-F4BD9FEE8DBF}"/>
          </ac:spMkLst>
        </pc:spChg>
        <pc:spChg chg="del">
          <ac:chgData name="Oka, Dr. Dennis Kengo (JP)" userId="aeb014c5-2f18-4035-80ba-4d519a44d38a" providerId="ADAL" clId="{4937CA01-90DA-4D2B-AC0A-761D69F4697E}" dt="2025-05-20T11:36:22.422" v="1291" actId="478"/>
          <ac:spMkLst>
            <pc:docMk/>
            <pc:sldMk cId="761153170" sldId="2147482847"/>
            <ac:spMk id="5" creationId="{48651FB9-B3E5-1BAE-6E5D-20F66344FDC2}"/>
          </ac:spMkLst>
        </pc:spChg>
        <pc:spChg chg="add mod">
          <ac:chgData name="Oka, Dr. Dennis Kengo (JP)" userId="aeb014c5-2f18-4035-80ba-4d519a44d38a" providerId="ADAL" clId="{4937CA01-90DA-4D2B-AC0A-761D69F4697E}" dt="2025-05-20T19:02:04.604" v="5032"/>
          <ac:spMkLst>
            <pc:docMk/>
            <pc:sldMk cId="761153170" sldId="2147482847"/>
            <ac:spMk id="5" creationId="{D12C362C-454A-2B7F-44CF-62E364CD9758}"/>
          </ac:spMkLst>
        </pc:spChg>
        <pc:spChg chg="mod">
          <ac:chgData name="Oka, Dr. Dennis Kengo (JP)" userId="aeb014c5-2f18-4035-80ba-4d519a44d38a" providerId="ADAL" clId="{4937CA01-90DA-4D2B-AC0A-761D69F4697E}" dt="2025-05-20T18:30:11.162" v="4909" actId="20577"/>
          <ac:spMkLst>
            <pc:docMk/>
            <pc:sldMk cId="761153170" sldId="2147482847"/>
            <ac:spMk id="6" creationId="{42DD3A7A-68F4-25BF-66B4-F9794589296A}"/>
          </ac:spMkLst>
        </pc:spChg>
        <pc:spChg chg="del">
          <ac:chgData name="Oka, Dr. Dennis Kengo (JP)" userId="aeb014c5-2f18-4035-80ba-4d519a44d38a" providerId="ADAL" clId="{4937CA01-90DA-4D2B-AC0A-761D69F4697E}" dt="2025-05-20T19:02:04.163" v="5031" actId="478"/>
          <ac:spMkLst>
            <pc:docMk/>
            <pc:sldMk cId="761153170" sldId="2147482847"/>
            <ac:spMk id="8" creationId="{4D539381-5FFF-993E-EB8D-21C26FD58F8E}"/>
          </ac:spMkLst>
        </pc:spChg>
        <pc:spChg chg="mod">
          <ac:chgData name="Oka, Dr. Dennis Kengo (JP)" userId="aeb014c5-2f18-4035-80ba-4d519a44d38a" providerId="ADAL" clId="{4937CA01-90DA-4D2B-AC0A-761D69F4697E}" dt="2025-05-20T17:54:18.823" v="3598"/>
          <ac:spMkLst>
            <pc:docMk/>
            <pc:sldMk cId="761153170" sldId="2147482847"/>
            <ac:spMk id="9" creationId="{682F5C95-B42C-954E-B77D-7D0B4801828D}"/>
          </ac:spMkLst>
        </pc:spChg>
        <pc:spChg chg="del">
          <ac:chgData name="Oka, Dr. Dennis Kengo (JP)" userId="aeb014c5-2f18-4035-80ba-4d519a44d38a" providerId="ADAL" clId="{4937CA01-90DA-4D2B-AC0A-761D69F4697E}" dt="2025-05-20T11:35:23.385" v="1283" actId="478"/>
          <ac:spMkLst>
            <pc:docMk/>
            <pc:sldMk cId="761153170" sldId="2147482847"/>
            <ac:spMk id="10" creationId="{12969E46-ADC8-E86D-2F03-D6BC763FB761}"/>
          </ac:spMkLst>
        </pc:spChg>
        <pc:spChg chg="mod">
          <ac:chgData name="Oka, Dr. Dennis Kengo (JP)" userId="aeb014c5-2f18-4035-80ba-4d519a44d38a" providerId="ADAL" clId="{4937CA01-90DA-4D2B-AC0A-761D69F4697E}" dt="2025-05-20T11:42:39.138" v="1578" actId="1076"/>
          <ac:spMkLst>
            <pc:docMk/>
            <pc:sldMk cId="761153170" sldId="2147482847"/>
            <ac:spMk id="16" creationId="{8025B517-F3EC-CF0D-1A0D-436575939A20}"/>
          </ac:spMkLst>
        </pc:spChg>
        <pc:spChg chg="mod">
          <ac:chgData name="Oka, Dr. Dennis Kengo (JP)" userId="aeb014c5-2f18-4035-80ba-4d519a44d38a" providerId="ADAL" clId="{4937CA01-90DA-4D2B-AC0A-761D69F4697E}" dt="2025-05-20T11:38:58.405" v="1379"/>
          <ac:spMkLst>
            <pc:docMk/>
            <pc:sldMk cId="761153170" sldId="2147482847"/>
            <ac:spMk id="18" creationId="{9B0055B3-D934-8A7E-C67E-DAAE2FA52A07}"/>
          </ac:spMkLst>
        </pc:spChg>
        <pc:spChg chg="mod">
          <ac:chgData name="Oka, Dr. Dennis Kengo (JP)" userId="aeb014c5-2f18-4035-80ba-4d519a44d38a" providerId="ADAL" clId="{4937CA01-90DA-4D2B-AC0A-761D69F4697E}" dt="2025-05-20T11:36:58.160" v="1313"/>
          <ac:spMkLst>
            <pc:docMk/>
            <pc:sldMk cId="761153170" sldId="2147482847"/>
            <ac:spMk id="22" creationId="{8461F219-A6E3-2BB0-631D-0D690FA7EF8A}"/>
          </ac:spMkLst>
        </pc:spChg>
        <pc:spChg chg="mod">
          <ac:chgData name="Oka, Dr. Dennis Kengo (JP)" userId="aeb014c5-2f18-4035-80ba-4d519a44d38a" providerId="ADAL" clId="{4937CA01-90DA-4D2B-AC0A-761D69F4697E}" dt="2025-05-20T17:05:47.528" v="1972"/>
          <ac:spMkLst>
            <pc:docMk/>
            <pc:sldMk cId="761153170" sldId="2147482847"/>
            <ac:spMk id="25" creationId="{D4C1ED82-B507-7F07-664A-C3F8441ED3B3}"/>
          </ac:spMkLst>
        </pc:spChg>
        <pc:spChg chg="add mod">
          <ac:chgData name="Oka, Dr. Dennis Kengo (JP)" userId="aeb014c5-2f18-4035-80ba-4d519a44d38a" providerId="ADAL" clId="{4937CA01-90DA-4D2B-AC0A-761D69F4697E}" dt="2025-05-20T17:02:07.831" v="1872" actId="20577"/>
          <ac:spMkLst>
            <pc:docMk/>
            <pc:sldMk cId="761153170" sldId="2147482847"/>
            <ac:spMk id="27" creationId="{A30E7664-2D34-61A4-811A-F553E9638322}"/>
          </ac:spMkLst>
        </pc:spChg>
        <pc:spChg chg="add mod">
          <ac:chgData name="Oka, Dr. Dennis Kengo (JP)" userId="aeb014c5-2f18-4035-80ba-4d519a44d38a" providerId="ADAL" clId="{4937CA01-90DA-4D2B-AC0A-761D69F4697E}" dt="2025-05-20T19:02:11.961" v="5035" actId="1076"/>
          <ac:spMkLst>
            <pc:docMk/>
            <pc:sldMk cId="761153170" sldId="2147482847"/>
            <ac:spMk id="28" creationId="{D5776070-9E89-C9F8-0F39-B6786C64E073}"/>
          </ac:spMkLst>
        </pc:spChg>
        <pc:spChg chg="add mod">
          <ac:chgData name="Oka, Dr. Dennis Kengo (JP)" userId="aeb014c5-2f18-4035-80ba-4d519a44d38a" providerId="ADAL" clId="{4937CA01-90DA-4D2B-AC0A-761D69F4697E}" dt="2025-05-20T19:02:09.173" v="5034" actId="1076"/>
          <ac:spMkLst>
            <pc:docMk/>
            <pc:sldMk cId="761153170" sldId="2147482847"/>
            <ac:spMk id="29" creationId="{0A89E617-B41E-5A09-D67D-BBA98D484A0D}"/>
          </ac:spMkLst>
        </pc:spChg>
        <pc:spChg chg="add mod">
          <ac:chgData name="Oka, Dr. Dennis Kengo (JP)" userId="aeb014c5-2f18-4035-80ba-4d519a44d38a" providerId="ADAL" clId="{4937CA01-90DA-4D2B-AC0A-761D69F4697E}" dt="2025-05-20T17:05:47.073" v="1969" actId="1076"/>
          <ac:spMkLst>
            <pc:docMk/>
            <pc:sldMk cId="761153170" sldId="2147482847"/>
            <ac:spMk id="30" creationId="{707144E9-D053-BC47-84D1-3D68A6001919}"/>
          </ac:spMkLst>
        </pc:spChg>
        <pc:spChg chg="del">
          <ac:chgData name="Oka, Dr. Dennis Kengo (JP)" userId="aeb014c5-2f18-4035-80ba-4d519a44d38a" providerId="ADAL" clId="{4937CA01-90DA-4D2B-AC0A-761D69F4697E}" dt="2025-05-20T11:35:22.687" v="1282" actId="478"/>
          <ac:spMkLst>
            <pc:docMk/>
            <pc:sldMk cId="761153170" sldId="2147482847"/>
            <ac:spMk id="33" creationId="{05DCBDFE-13A7-B8A0-8941-71EC9C76B840}"/>
          </ac:spMkLst>
        </pc:spChg>
        <pc:spChg chg="add mod">
          <ac:chgData name="Oka, Dr. Dennis Kengo (JP)" userId="aeb014c5-2f18-4035-80ba-4d519a44d38a" providerId="ADAL" clId="{4937CA01-90DA-4D2B-AC0A-761D69F4697E}" dt="2025-05-20T11:42:21.057" v="1557" actId="1076"/>
          <ac:spMkLst>
            <pc:docMk/>
            <pc:sldMk cId="761153170" sldId="2147482847"/>
            <ac:spMk id="34" creationId="{8E9C3C7C-66F3-3B94-442F-614FC22CD436}"/>
          </ac:spMkLst>
        </pc:spChg>
        <pc:spChg chg="del">
          <ac:chgData name="Oka, Dr. Dennis Kengo (JP)" userId="aeb014c5-2f18-4035-80ba-4d519a44d38a" providerId="ADAL" clId="{4937CA01-90DA-4D2B-AC0A-761D69F4697E}" dt="2025-05-20T11:35:26.414" v="1284" actId="478"/>
          <ac:spMkLst>
            <pc:docMk/>
            <pc:sldMk cId="761153170" sldId="2147482847"/>
            <ac:spMk id="35" creationId="{207FE085-5F17-A530-DAE3-EAB64E35917D}"/>
          </ac:spMkLst>
        </pc:spChg>
        <pc:spChg chg="del">
          <ac:chgData name="Oka, Dr. Dennis Kengo (JP)" userId="aeb014c5-2f18-4035-80ba-4d519a44d38a" providerId="ADAL" clId="{4937CA01-90DA-4D2B-AC0A-761D69F4697E}" dt="2025-05-20T11:35:29.367" v="1285" actId="478"/>
          <ac:spMkLst>
            <pc:docMk/>
            <pc:sldMk cId="761153170" sldId="2147482847"/>
            <ac:spMk id="36" creationId="{5307DA4A-64B3-9AB2-6AA2-C471C7300B76}"/>
          </ac:spMkLst>
        </pc:spChg>
        <pc:spChg chg="mod">
          <ac:chgData name="Oka, Dr. Dennis Kengo (JP)" userId="aeb014c5-2f18-4035-80ba-4d519a44d38a" providerId="ADAL" clId="{4937CA01-90DA-4D2B-AC0A-761D69F4697E}" dt="2025-05-20T17:06:50.875" v="2039" actId="1076"/>
          <ac:spMkLst>
            <pc:docMk/>
            <pc:sldMk cId="761153170" sldId="2147482847"/>
            <ac:spMk id="41" creationId="{42492D1C-D1EB-17E9-4A30-750DBE710754}"/>
          </ac:spMkLst>
        </pc:spChg>
        <pc:spChg chg="mod">
          <ac:chgData name="Oka, Dr. Dennis Kengo (JP)" userId="aeb014c5-2f18-4035-80ba-4d519a44d38a" providerId="ADAL" clId="{4937CA01-90DA-4D2B-AC0A-761D69F4697E}" dt="2025-05-20T17:06:50.875" v="2039" actId="1076"/>
          <ac:spMkLst>
            <pc:docMk/>
            <pc:sldMk cId="761153170" sldId="2147482847"/>
            <ac:spMk id="44" creationId="{72CE2747-11A5-5EAB-C0BE-1D55D85FA99C}"/>
          </ac:spMkLst>
        </pc:spChg>
        <pc:spChg chg="add mod">
          <ac:chgData name="Oka, Dr. Dennis Kengo (JP)" userId="aeb014c5-2f18-4035-80ba-4d519a44d38a" providerId="ADAL" clId="{4937CA01-90DA-4D2B-AC0A-761D69F4697E}" dt="2025-05-20T17:07:17.707" v="2044" actId="1582"/>
          <ac:spMkLst>
            <pc:docMk/>
            <pc:sldMk cId="761153170" sldId="2147482847"/>
            <ac:spMk id="47" creationId="{03D5E3FE-787A-DEAD-6AF0-BF4AE615E648}"/>
          </ac:spMkLst>
        </pc:spChg>
        <pc:spChg chg="add mod">
          <ac:chgData name="Oka, Dr. Dennis Kengo (JP)" userId="aeb014c5-2f18-4035-80ba-4d519a44d38a" providerId="ADAL" clId="{4937CA01-90DA-4D2B-AC0A-761D69F4697E}" dt="2025-05-20T17:07:21.227" v="2045" actId="571"/>
          <ac:spMkLst>
            <pc:docMk/>
            <pc:sldMk cId="761153170" sldId="2147482847"/>
            <ac:spMk id="48" creationId="{FCF50943-1753-E098-C559-B3178D58E3A8}"/>
          </ac:spMkLst>
        </pc:spChg>
        <pc:spChg chg="mod">
          <ac:chgData name="Oka, Dr. Dennis Kengo (JP)" userId="aeb014c5-2f18-4035-80ba-4d519a44d38a" providerId="ADAL" clId="{4937CA01-90DA-4D2B-AC0A-761D69F4697E}" dt="2025-05-20T17:54:19.949" v="3600"/>
          <ac:spMkLst>
            <pc:docMk/>
            <pc:sldMk cId="761153170" sldId="2147482847"/>
            <ac:spMk id="50" creationId="{B9D1F025-08A3-2435-5366-A98AFA47AAA3}"/>
          </ac:spMkLst>
        </pc:spChg>
        <pc:spChg chg="mod">
          <ac:chgData name="Oka, Dr. Dennis Kengo (JP)" userId="aeb014c5-2f18-4035-80ba-4d519a44d38a" providerId="ADAL" clId="{4937CA01-90DA-4D2B-AC0A-761D69F4697E}" dt="2025-05-20T17:54:19.949" v="3600"/>
          <ac:spMkLst>
            <pc:docMk/>
            <pc:sldMk cId="761153170" sldId="2147482847"/>
            <ac:spMk id="51" creationId="{89169E93-6ADE-7F0C-297E-885867AAEB4F}"/>
          </ac:spMkLst>
        </pc:spChg>
        <pc:spChg chg="mod">
          <ac:chgData name="Oka, Dr. Dennis Kengo (JP)" userId="aeb014c5-2f18-4035-80ba-4d519a44d38a" providerId="ADAL" clId="{4937CA01-90DA-4D2B-AC0A-761D69F4697E}" dt="2025-05-20T17:54:19.949" v="3600"/>
          <ac:spMkLst>
            <pc:docMk/>
            <pc:sldMk cId="761153170" sldId="2147482847"/>
            <ac:spMk id="53" creationId="{10C15E36-02BC-702E-AA67-FE9AE880269E}"/>
          </ac:spMkLst>
        </pc:spChg>
        <pc:spChg chg="mod">
          <ac:chgData name="Oka, Dr. Dennis Kengo (JP)" userId="aeb014c5-2f18-4035-80ba-4d519a44d38a" providerId="ADAL" clId="{4937CA01-90DA-4D2B-AC0A-761D69F4697E}" dt="2025-05-20T17:54:19.949" v="3600"/>
          <ac:spMkLst>
            <pc:docMk/>
            <pc:sldMk cId="761153170" sldId="2147482847"/>
            <ac:spMk id="54" creationId="{64AD57E1-B415-CB78-20BD-F271898B3645}"/>
          </ac:spMkLst>
        </pc:spChg>
        <pc:spChg chg="mod">
          <ac:chgData name="Oka, Dr. Dennis Kengo (JP)" userId="aeb014c5-2f18-4035-80ba-4d519a44d38a" providerId="ADAL" clId="{4937CA01-90DA-4D2B-AC0A-761D69F4697E}" dt="2025-05-20T17:54:19.949" v="3600"/>
          <ac:spMkLst>
            <pc:docMk/>
            <pc:sldMk cId="761153170" sldId="2147482847"/>
            <ac:spMk id="55" creationId="{D88AEF64-136E-E089-26D4-041C1CCEF389}"/>
          </ac:spMkLst>
        </pc:spChg>
        <pc:spChg chg="mod">
          <ac:chgData name="Oka, Dr. Dennis Kengo (JP)" userId="aeb014c5-2f18-4035-80ba-4d519a44d38a" providerId="ADAL" clId="{4937CA01-90DA-4D2B-AC0A-761D69F4697E}" dt="2025-05-20T17:54:19.949" v="3600"/>
          <ac:spMkLst>
            <pc:docMk/>
            <pc:sldMk cId="761153170" sldId="2147482847"/>
            <ac:spMk id="56" creationId="{BE359EE3-BC52-0C08-57F9-5F958D4DBC03}"/>
          </ac:spMkLst>
        </pc:spChg>
        <pc:spChg chg="mod">
          <ac:chgData name="Oka, Dr. Dennis Kengo (JP)" userId="aeb014c5-2f18-4035-80ba-4d519a44d38a" providerId="ADAL" clId="{4937CA01-90DA-4D2B-AC0A-761D69F4697E}" dt="2025-05-20T17:54:19.949" v="3600"/>
          <ac:spMkLst>
            <pc:docMk/>
            <pc:sldMk cId="761153170" sldId="2147482847"/>
            <ac:spMk id="57" creationId="{81148741-0CBC-FA6C-86D6-831192AF4F77}"/>
          </ac:spMkLst>
        </pc:spChg>
        <pc:spChg chg="mod">
          <ac:chgData name="Oka, Dr. Dennis Kengo (JP)" userId="aeb014c5-2f18-4035-80ba-4d519a44d38a" providerId="ADAL" clId="{4937CA01-90DA-4D2B-AC0A-761D69F4697E}" dt="2025-05-20T17:54:19.949" v="3600"/>
          <ac:spMkLst>
            <pc:docMk/>
            <pc:sldMk cId="761153170" sldId="2147482847"/>
            <ac:spMk id="58" creationId="{A152BE45-BCFA-720D-3E53-71D11E456018}"/>
          </ac:spMkLst>
        </pc:spChg>
        <pc:spChg chg="mod">
          <ac:chgData name="Oka, Dr. Dennis Kengo (JP)" userId="aeb014c5-2f18-4035-80ba-4d519a44d38a" providerId="ADAL" clId="{4937CA01-90DA-4D2B-AC0A-761D69F4697E}" dt="2025-05-20T17:54:19.949" v="3600"/>
          <ac:spMkLst>
            <pc:docMk/>
            <pc:sldMk cId="761153170" sldId="2147482847"/>
            <ac:spMk id="59" creationId="{64D0B1CC-48A2-2D37-94E1-C9501F4D352C}"/>
          </ac:spMkLst>
        </pc:spChg>
        <pc:spChg chg="mod">
          <ac:chgData name="Oka, Dr. Dennis Kengo (JP)" userId="aeb014c5-2f18-4035-80ba-4d519a44d38a" providerId="ADAL" clId="{4937CA01-90DA-4D2B-AC0A-761D69F4697E}" dt="2025-05-20T17:54:19.949" v="3600"/>
          <ac:spMkLst>
            <pc:docMk/>
            <pc:sldMk cId="761153170" sldId="2147482847"/>
            <ac:spMk id="60" creationId="{2347A19F-005C-3AC8-A768-57B8AD826778}"/>
          </ac:spMkLst>
        </pc:spChg>
        <pc:grpChg chg="del mod">
          <ac:chgData name="Oka, Dr. Dennis Kengo (JP)" userId="aeb014c5-2f18-4035-80ba-4d519a44d38a" providerId="ADAL" clId="{4937CA01-90DA-4D2B-AC0A-761D69F4697E}" dt="2025-05-20T17:54:19.635" v="3599" actId="478"/>
          <ac:grpSpMkLst>
            <pc:docMk/>
            <pc:sldMk cId="761153170" sldId="2147482847"/>
            <ac:grpSpMk id="7" creationId="{7B469680-8DF8-A491-657A-E08367635743}"/>
          </ac:grpSpMkLst>
        </pc:grpChg>
        <pc:grpChg chg="mod">
          <ac:chgData name="Oka, Dr. Dennis Kengo (JP)" userId="aeb014c5-2f18-4035-80ba-4d519a44d38a" providerId="ADAL" clId="{4937CA01-90DA-4D2B-AC0A-761D69F4697E}" dt="2025-05-20T11:42:39.138" v="1578" actId="1076"/>
          <ac:grpSpMkLst>
            <pc:docMk/>
            <pc:sldMk cId="761153170" sldId="2147482847"/>
            <ac:grpSpMk id="13" creationId="{4A730E1D-7170-4A6C-A86A-DB8CF14590AE}"/>
          </ac:grpSpMkLst>
        </pc:grpChg>
        <pc:grpChg chg="mod">
          <ac:chgData name="Oka, Dr. Dennis Kengo (JP)" userId="aeb014c5-2f18-4035-80ba-4d519a44d38a" providerId="ADAL" clId="{4937CA01-90DA-4D2B-AC0A-761D69F4697E}" dt="2025-05-20T11:38:58.405" v="1377"/>
          <ac:grpSpMkLst>
            <pc:docMk/>
            <pc:sldMk cId="761153170" sldId="2147482847"/>
            <ac:grpSpMk id="14" creationId="{12D34B61-BF37-4BEC-0592-5EBD40B6169B}"/>
          </ac:grpSpMkLst>
        </pc:grpChg>
        <pc:grpChg chg="del mod">
          <ac:chgData name="Oka, Dr. Dennis Kengo (JP)" userId="aeb014c5-2f18-4035-80ba-4d519a44d38a" providerId="ADAL" clId="{4937CA01-90DA-4D2B-AC0A-761D69F4697E}" dt="2025-05-20T11:36:59.887" v="1314" actId="478"/>
          <ac:grpSpMkLst>
            <pc:docMk/>
            <pc:sldMk cId="761153170" sldId="2147482847"/>
            <ac:grpSpMk id="20" creationId="{83FC20A0-E97D-38B1-D7D7-18662E54C8BB}"/>
          </ac:grpSpMkLst>
        </pc:grpChg>
        <pc:grpChg chg="del mod">
          <ac:chgData name="Oka, Dr. Dennis Kengo (JP)" userId="aeb014c5-2f18-4035-80ba-4d519a44d38a" providerId="ADAL" clId="{4937CA01-90DA-4D2B-AC0A-761D69F4697E}" dt="2025-05-20T17:05:48.565" v="1973" actId="478"/>
          <ac:grpSpMkLst>
            <pc:docMk/>
            <pc:sldMk cId="761153170" sldId="2147482847"/>
            <ac:grpSpMk id="24" creationId="{D0C74BC8-5AB9-5CD3-EF1A-EA012AD24054}"/>
          </ac:grpSpMkLst>
        </pc:grpChg>
        <pc:grpChg chg="mod">
          <ac:chgData name="Oka, Dr. Dennis Kengo (JP)" userId="aeb014c5-2f18-4035-80ba-4d519a44d38a" providerId="ADAL" clId="{4937CA01-90DA-4D2B-AC0A-761D69F4697E}" dt="2025-05-20T17:06:50.875" v="2039" actId="1076"/>
          <ac:grpSpMkLst>
            <pc:docMk/>
            <pc:sldMk cId="761153170" sldId="2147482847"/>
            <ac:grpSpMk id="40" creationId="{FDF63CBD-14A6-DA9E-1D94-BEC874E7360E}"/>
          </ac:grpSpMkLst>
        </pc:grpChg>
        <pc:grpChg chg="add del mod">
          <ac:chgData name="Oka, Dr. Dennis Kengo (JP)" userId="aeb014c5-2f18-4035-80ba-4d519a44d38a" providerId="ADAL" clId="{4937CA01-90DA-4D2B-AC0A-761D69F4697E}" dt="2025-05-20T17:06:50.875" v="2039" actId="1076"/>
          <ac:grpSpMkLst>
            <pc:docMk/>
            <pc:sldMk cId="761153170" sldId="2147482847"/>
            <ac:grpSpMk id="43" creationId="{C59857A4-FD58-8915-73F1-19A6B180AFEB}"/>
          </ac:grpSpMkLst>
        </pc:grpChg>
        <pc:grpChg chg="add mod">
          <ac:chgData name="Oka, Dr. Dennis Kengo (JP)" userId="aeb014c5-2f18-4035-80ba-4d519a44d38a" providerId="ADAL" clId="{4937CA01-90DA-4D2B-AC0A-761D69F4697E}" dt="2025-05-20T17:06:50.875" v="2039" actId="1076"/>
          <ac:grpSpMkLst>
            <pc:docMk/>
            <pc:sldMk cId="761153170" sldId="2147482847"/>
            <ac:grpSpMk id="46" creationId="{A3DFFB7B-4C35-39F2-25AE-F8A85D9C4BEA}"/>
          </ac:grpSpMkLst>
        </pc:grpChg>
        <pc:picChg chg="mod">
          <ac:chgData name="Oka, Dr. Dennis Kengo (JP)" userId="aeb014c5-2f18-4035-80ba-4d519a44d38a" providerId="ADAL" clId="{4937CA01-90DA-4D2B-AC0A-761D69F4697E}" dt="2025-05-20T17:54:18.815" v="3597"/>
          <ac:picMkLst>
            <pc:docMk/>
            <pc:sldMk cId="761153170" sldId="2147482847"/>
            <ac:picMk id="11" creationId="{BB52ECDB-5D7C-4D21-B9E3-AE38774F235C}"/>
          </ac:picMkLst>
        </pc:picChg>
        <pc:picChg chg="mod">
          <ac:chgData name="Oka, Dr. Dennis Kengo (JP)" userId="aeb014c5-2f18-4035-80ba-4d519a44d38a" providerId="ADAL" clId="{4937CA01-90DA-4D2B-AC0A-761D69F4697E}" dt="2025-05-20T11:38:58.405" v="1378"/>
          <ac:picMkLst>
            <pc:docMk/>
            <pc:sldMk cId="761153170" sldId="2147482847"/>
            <ac:picMk id="19" creationId="{E8445362-1A74-F544-F100-B6F2CB04CD20}"/>
          </ac:picMkLst>
        </pc:picChg>
        <pc:picChg chg="mod">
          <ac:chgData name="Oka, Dr. Dennis Kengo (JP)" userId="aeb014c5-2f18-4035-80ba-4d519a44d38a" providerId="ADAL" clId="{4937CA01-90DA-4D2B-AC0A-761D69F4697E}" dt="2025-05-20T11:42:39.138" v="1578" actId="1076"/>
          <ac:picMkLst>
            <pc:docMk/>
            <pc:sldMk cId="761153170" sldId="2147482847"/>
            <ac:picMk id="21" creationId="{D04A7EB1-5478-C023-184B-DFEB2E3FC1E0}"/>
          </ac:picMkLst>
        </pc:picChg>
        <pc:picChg chg="mod">
          <ac:chgData name="Oka, Dr. Dennis Kengo (JP)" userId="aeb014c5-2f18-4035-80ba-4d519a44d38a" providerId="ADAL" clId="{4937CA01-90DA-4D2B-AC0A-761D69F4697E}" dt="2025-05-20T11:36:58.160" v="1312"/>
          <ac:picMkLst>
            <pc:docMk/>
            <pc:sldMk cId="761153170" sldId="2147482847"/>
            <ac:picMk id="23" creationId="{8E8701B3-8CAC-1566-8C89-187A4A892EBE}"/>
          </ac:picMkLst>
        </pc:picChg>
        <pc:picChg chg="mod">
          <ac:chgData name="Oka, Dr. Dennis Kengo (JP)" userId="aeb014c5-2f18-4035-80ba-4d519a44d38a" providerId="ADAL" clId="{4937CA01-90DA-4D2B-AC0A-761D69F4697E}" dt="2025-05-20T17:05:47.528" v="1971"/>
          <ac:picMkLst>
            <pc:docMk/>
            <pc:sldMk cId="761153170" sldId="2147482847"/>
            <ac:picMk id="26" creationId="{9F963199-3E0E-E3C0-E9B5-8C909543DFC2}"/>
          </ac:picMkLst>
        </pc:picChg>
        <pc:picChg chg="mod">
          <ac:chgData name="Oka, Dr. Dennis Kengo (JP)" userId="aeb014c5-2f18-4035-80ba-4d519a44d38a" providerId="ADAL" clId="{4937CA01-90DA-4D2B-AC0A-761D69F4697E}" dt="2025-05-20T17:06:50.875" v="2039" actId="1076"/>
          <ac:picMkLst>
            <pc:docMk/>
            <pc:sldMk cId="761153170" sldId="2147482847"/>
            <ac:picMk id="42" creationId="{E50F1360-DBB5-E624-F251-D553E99D3E7F}"/>
          </ac:picMkLst>
        </pc:picChg>
        <pc:picChg chg="mod">
          <ac:chgData name="Oka, Dr. Dennis Kengo (JP)" userId="aeb014c5-2f18-4035-80ba-4d519a44d38a" providerId="ADAL" clId="{4937CA01-90DA-4D2B-AC0A-761D69F4697E}" dt="2025-05-20T17:06:50.875" v="2039" actId="1076"/>
          <ac:picMkLst>
            <pc:docMk/>
            <pc:sldMk cId="761153170" sldId="2147482847"/>
            <ac:picMk id="45" creationId="{0E090E2B-FA55-E9A4-0EFD-F4548B44A220}"/>
          </ac:picMkLst>
        </pc:picChg>
        <pc:cxnChg chg="add mod">
          <ac:chgData name="Oka, Dr. Dennis Kengo (JP)" userId="aeb014c5-2f18-4035-80ba-4d519a44d38a" providerId="ADAL" clId="{4937CA01-90DA-4D2B-AC0A-761D69F4697E}" dt="2025-05-20T11:42:37.020" v="1573" actId="1076"/>
          <ac:cxnSpMkLst>
            <pc:docMk/>
            <pc:sldMk cId="761153170" sldId="2147482847"/>
            <ac:cxnSpMk id="31" creationId="{0538B0CA-3EBB-ABD6-04AC-1D7C472BEB13}"/>
          </ac:cxnSpMkLst>
        </pc:cxnChg>
        <pc:cxnChg chg="del">
          <ac:chgData name="Oka, Dr. Dennis Kengo (JP)" userId="aeb014c5-2f18-4035-80ba-4d519a44d38a" providerId="ADAL" clId="{4937CA01-90DA-4D2B-AC0A-761D69F4697E}" dt="2025-05-20T11:35:57.450" v="1289" actId="478"/>
          <ac:cxnSpMkLst>
            <pc:docMk/>
            <pc:sldMk cId="761153170" sldId="2147482847"/>
            <ac:cxnSpMk id="37" creationId="{160420B7-07A6-5651-4401-9ECFB6AA2B6E}"/>
          </ac:cxnSpMkLst>
        </pc:cxnChg>
      </pc:sldChg>
      <pc:sldChg chg="addSp modSp new del mod modNotesTx">
        <pc:chgData name="Oka, Dr. Dennis Kengo (JP)" userId="aeb014c5-2f18-4035-80ba-4d519a44d38a" providerId="ADAL" clId="{4937CA01-90DA-4D2B-AC0A-761D69F4697E}" dt="2025-05-20T17:43:09.675" v="3315" actId="47"/>
        <pc:sldMkLst>
          <pc:docMk/>
          <pc:sldMk cId="3055221492" sldId="2147482848"/>
        </pc:sldMkLst>
        <pc:graphicFrameChg chg="add mod modGraphic">
          <ac:chgData name="Oka, Dr. Dennis Kengo (JP)" userId="aeb014c5-2f18-4035-80ba-4d519a44d38a" providerId="ADAL" clId="{4937CA01-90DA-4D2B-AC0A-761D69F4697E}" dt="2025-05-20T17:40:58.113" v="3235" actId="14734"/>
          <ac:graphicFrameMkLst>
            <pc:docMk/>
            <pc:sldMk cId="3055221492" sldId="2147482848"/>
            <ac:graphicFrameMk id="5" creationId="{A9F1612E-2E21-99EB-1F54-C3B12576BD17}"/>
          </ac:graphicFrameMkLst>
        </pc:graphicFrameChg>
      </pc:sldChg>
      <pc:sldChg chg="addSp delSp modSp new mod modClrScheme chgLayout modNotesTx">
        <pc:chgData name="Oka, Dr. Dennis Kengo (JP)" userId="aeb014c5-2f18-4035-80ba-4d519a44d38a" providerId="ADAL" clId="{4937CA01-90DA-4D2B-AC0A-761D69F4697E}" dt="2025-05-20T20:07:22.544" v="5749" actId="207"/>
        <pc:sldMkLst>
          <pc:docMk/>
          <pc:sldMk cId="2984208153" sldId="2147482849"/>
        </pc:sldMkLst>
        <pc:spChg chg="mod ord">
          <ac:chgData name="Oka, Dr. Dennis Kengo (JP)" userId="aeb014c5-2f18-4035-80ba-4d519a44d38a" providerId="ADAL" clId="{4937CA01-90DA-4D2B-AC0A-761D69F4697E}" dt="2025-05-20T18:30:25.182" v="4913" actId="20577"/>
          <ac:spMkLst>
            <pc:docMk/>
            <pc:sldMk cId="2984208153" sldId="2147482849"/>
            <ac:spMk id="2" creationId="{7305D5F7-0A15-BB8B-087C-2EE7EDC7DA70}"/>
          </ac:spMkLst>
        </pc:spChg>
        <pc:spChg chg="del mod ord">
          <ac:chgData name="Oka, Dr. Dennis Kengo (JP)" userId="aeb014c5-2f18-4035-80ba-4d519a44d38a" providerId="ADAL" clId="{4937CA01-90DA-4D2B-AC0A-761D69F4697E}" dt="2025-05-20T19:52:00.042" v="5499" actId="478"/>
          <ac:spMkLst>
            <pc:docMk/>
            <pc:sldMk cId="2984208153" sldId="2147482849"/>
            <ac:spMk id="3" creationId="{668F8140-D9D0-A2C3-0720-D5AF5E8FF3EA}"/>
          </ac:spMkLst>
        </pc:spChg>
        <pc:spChg chg="mod ord">
          <ac:chgData name="Oka, Dr. Dennis Kengo (JP)" userId="aeb014c5-2f18-4035-80ba-4d519a44d38a" providerId="ADAL" clId="{4937CA01-90DA-4D2B-AC0A-761D69F4697E}" dt="2025-05-20T18:15:07.767" v="4386" actId="700"/>
          <ac:spMkLst>
            <pc:docMk/>
            <pc:sldMk cId="2984208153" sldId="2147482849"/>
            <ac:spMk id="4" creationId="{79A2A3CC-C185-F1ED-DE0B-B4740251EE73}"/>
          </ac:spMkLst>
        </pc:spChg>
        <pc:spChg chg="add mod ord">
          <ac:chgData name="Oka, Dr. Dennis Kengo (JP)" userId="aeb014c5-2f18-4035-80ba-4d519a44d38a" providerId="ADAL" clId="{4937CA01-90DA-4D2B-AC0A-761D69F4697E}" dt="2025-05-20T18:16:11.044" v="4398" actId="21"/>
          <ac:spMkLst>
            <pc:docMk/>
            <pc:sldMk cId="2984208153" sldId="2147482849"/>
            <ac:spMk id="5" creationId="{02BC4102-5A8E-D3CD-326A-B5874BBB8D47}"/>
          </ac:spMkLst>
        </pc:spChg>
        <pc:spChg chg="add mod ord">
          <ac:chgData name="Oka, Dr. Dennis Kengo (JP)" userId="aeb014c5-2f18-4035-80ba-4d519a44d38a" providerId="ADAL" clId="{4937CA01-90DA-4D2B-AC0A-761D69F4697E}" dt="2025-05-20T18:22:01.296" v="4760" actId="207"/>
          <ac:spMkLst>
            <pc:docMk/>
            <pc:sldMk cId="2984208153" sldId="2147482849"/>
            <ac:spMk id="6" creationId="{5B344A9F-9C72-6560-8FB6-22C180158087}"/>
          </ac:spMkLst>
        </pc:spChg>
        <pc:spChg chg="add mod">
          <ac:chgData name="Oka, Dr. Dennis Kengo (JP)" userId="aeb014c5-2f18-4035-80ba-4d519a44d38a" providerId="ADAL" clId="{4937CA01-90DA-4D2B-AC0A-761D69F4697E}" dt="2025-05-20T18:18:17.653" v="4581" actId="20577"/>
          <ac:spMkLst>
            <pc:docMk/>
            <pc:sldMk cId="2984208153" sldId="2147482849"/>
            <ac:spMk id="7" creationId="{1220FF87-6DBA-8B32-3C10-FA26811469F9}"/>
          </ac:spMkLst>
        </pc:spChg>
        <pc:spChg chg="mod">
          <ac:chgData name="Oka, Dr. Dennis Kengo (JP)" userId="aeb014c5-2f18-4035-80ba-4d519a44d38a" providerId="ADAL" clId="{4937CA01-90DA-4D2B-AC0A-761D69F4697E}" dt="2025-05-20T18:22:40.970" v="4804"/>
          <ac:spMkLst>
            <pc:docMk/>
            <pc:sldMk cId="2984208153" sldId="2147482849"/>
            <ac:spMk id="9" creationId="{07670515-AAA5-5DBE-243B-7E29A8AB22B2}"/>
          </ac:spMkLst>
        </pc:spChg>
        <pc:spChg chg="add mod">
          <ac:chgData name="Oka, Dr. Dennis Kengo (JP)" userId="aeb014c5-2f18-4035-80ba-4d519a44d38a" providerId="ADAL" clId="{4937CA01-90DA-4D2B-AC0A-761D69F4697E}" dt="2025-05-20T19:52:00.389" v="5500"/>
          <ac:spMkLst>
            <pc:docMk/>
            <pc:sldMk cId="2984208153" sldId="2147482849"/>
            <ac:spMk id="11" creationId="{EB2A0735-63EC-4871-E1D1-022602A79535}"/>
          </ac:spMkLst>
        </pc:spChg>
        <pc:spChg chg="mod">
          <ac:chgData name="Oka, Dr. Dennis Kengo (JP)" userId="aeb014c5-2f18-4035-80ba-4d519a44d38a" providerId="ADAL" clId="{4937CA01-90DA-4D2B-AC0A-761D69F4697E}" dt="2025-05-20T18:20:32.875" v="4717"/>
          <ac:spMkLst>
            <pc:docMk/>
            <pc:sldMk cId="2984208153" sldId="2147482849"/>
            <ac:spMk id="12" creationId="{4E6C0C4E-7D05-9DAC-4EB6-612407DDD2F9}"/>
          </ac:spMkLst>
        </pc:spChg>
        <pc:spChg chg="mod">
          <ac:chgData name="Oka, Dr. Dennis Kengo (JP)" userId="aeb014c5-2f18-4035-80ba-4d519a44d38a" providerId="ADAL" clId="{4937CA01-90DA-4D2B-AC0A-761D69F4697E}" dt="2025-05-20T18:22:39.135" v="4797"/>
          <ac:spMkLst>
            <pc:docMk/>
            <pc:sldMk cId="2984208153" sldId="2147482849"/>
            <ac:spMk id="15" creationId="{76AAC13A-2F0A-05F8-A92C-12D2318B010F}"/>
          </ac:spMkLst>
        </pc:spChg>
        <pc:spChg chg="mod">
          <ac:chgData name="Oka, Dr. Dennis Kengo (JP)" userId="aeb014c5-2f18-4035-80ba-4d519a44d38a" providerId="ADAL" clId="{4937CA01-90DA-4D2B-AC0A-761D69F4697E}" dt="2025-05-20T18:19:59.203" v="4682"/>
          <ac:spMkLst>
            <pc:docMk/>
            <pc:sldMk cId="2984208153" sldId="2147482849"/>
            <ac:spMk id="18" creationId="{942C083D-48CD-954A-A65A-8C3E7D329392}"/>
          </ac:spMkLst>
        </pc:spChg>
        <pc:spChg chg="mod">
          <ac:chgData name="Oka, Dr. Dennis Kengo (JP)" userId="aeb014c5-2f18-4035-80ba-4d519a44d38a" providerId="ADAL" clId="{4937CA01-90DA-4D2B-AC0A-761D69F4697E}" dt="2025-05-20T18:19:59.203" v="4682"/>
          <ac:spMkLst>
            <pc:docMk/>
            <pc:sldMk cId="2984208153" sldId="2147482849"/>
            <ac:spMk id="21" creationId="{EA5898E7-5C8A-EB26-93F8-4401167EF4E9}"/>
          </ac:spMkLst>
        </pc:spChg>
        <pc:spChg chg="mod">
          <ac:chgData name="Oka, Dr. Dennis Kengo (JP)" userId="aeb014c5-2f18-4035-80ba-4d519a44d38a" providerId="ADAL" clId="{4937CA01-90DA-4D2B-AC0A-761D69F4697E}" dt="2025-05-20T18:22:36.434" v="4790"/>
          <ac:spMkLst>
            <pc:docMk/>
            <pc:sldMk cId="2984208153" sldId="2147482849"/>
            <ac:spMk id="24" creationId="{46CCB7F8-25C7-E945-0881-A0E00FDC03FD}"/>
          </ac:spMkLst>
        </pc:spChg>
        <pc:spChg chg="mod">
          <ac:chgData name="Oka, Dr. Dennis Kengo (JP)" userId="aeb014c5-2f18-4035-80ba-4d519a44d38a" providerId="ADAL" clId="{4937CA01-90DA-4D2B-AC0A-761D69F4697E}" dt="2025-05-20T20:07:22.544" v="5749" actId="207"/>
          <ac:spMkLst>
            <pc:docMk/>
            <pc:sldMk cId="2984208153" sldId="2147482849"/>
            <ac:spMk id="27" creationId="{16850D12-D6F8-5B3E-456D-18579D477244}"/>
          </ac:spMkLst>
        </pc:spChg>
        <pc:spChg chg="mod">
          <ac:chgData name="Oka, Dr. Dennis Kengo (JP)" userId="aeb014c5-2f18-4035-80ba-4d519a44d38a" providerId="ADAL" clId="{4937CA01-90DA-4D2B-AC0A-761D69F4697E}" dt="2025-05-20T18:21:14.065" v="4733"/>
          <ac:spMkLst>
            <pc:docMk/>
            <pc:sldMk cId="2984208153" sldId="2147482849"/>
            <ac:spMk id="30" creationId="{1D66FBD0-E90C-72F6-19CD-2060E23ED96A}"/>
          </ac:spMkLst>
        </pc:spChg>
        <pc:spChg chg="mod">
          <ac:chgData name="Oka, Dr. Dennis Kengo (JP)" userId="aeb014c5-2f18-4035-80ba-4d519a44d38a" providerId="ADAL" clId="{4937CA01-90DA-4D2B-AC0A-761D69F4697E}" dt="2025-05-20T18:21:28.379" v="4745"/>
          <ac:spMkLst>
            <pc:docMk/>
            <pc:sldMk cId="2984208153" sldId="2147482849"/>
            <ac:spMk id="33" creationId="{BD27395B-45F1-1301-4711-650C032D8B40}"/>
          </ac:spMkLst>
        </pc:spChg>
        <pc:spChg chg="mod">
          <ac:chgData name="Oka, Dr. Dennis Kengo (JP)" userId="aeb014c5-2f18-4035-80ba-4d519a44d38a" providerId="ADAL" clId="{4937CA01-90DA-4D2B-AC0A-761D69F4697E}" dt="2025-05-20T18:21:44.058" v="4757"/>
          <ac:spMkLst>
            <pc:docMk/>
            <pc:sldMk cId="2984208153" sldId="2147482849"/>
            <ac:spMk id="36" creationId="{2AE099B6-F6DE-124D-5A0B-AB6FD16A1141}"/>
          </ac:spMkLst>
        </pc:spChg>
        <pc:spChg chg="mod">
          <ac:chgData name="Oka, Dr. Dennis Kengo (JP)" userId="aeb014c5-2f18-4035-80ba-4d519a44d38a" providerId="ADAL" clId="{4937CA01-90DA-4D2B-AC0A-761D69F4697E}" dt="2025-05-20T18:22:23.627" v="4771"/>
          <ac:spMkLst>
            <pc:docMk/>
            <pc:sldMk cId="2984208153" sldId="2147482849"/>
            <ac:spMk id="39" creationId="{64F17371-1481-1101-1F34-78A0554249DF}"/>
          </ac:spMkLst>
        </pc:spChg>
        <pc:grpChg chg="mod">
          <ac:chgData name="Oka, Dr. Dennis Kengo (JP)" userId="aeb014c5-2f18-4035-80ba-4d519a44d38a" providerId="ADAL" clId="{4937CA01-90DA-4D2B-AC0A-761D69F4697E}" dt="2025-05-20T18:22:41.975" v="4805" actId="1076"/>
          <ac:grpSpMkLst>
            <pc:docMk/>
            <pc:sldMk cId="2984208153" sldId="2147482849"/>
            <ac:grpSpMk id="8" creationId="{BE134D7C-C52D-B82A-D2F9-A11716266AC2}"/>
          </ac:grpSpMkLst>
        </pc:grpChg>
        <pc:grpChg chg="del mod">
          <ac:chgData name="Oka, Dr. Dennis Kengo (JP)" userId="aeb014c5-2f18-4035-80ba-4d519a44d38a" providerId="ADAL" clId="{4937CA01-90DA-4D2B-AC0A-761D69F4697E}" dt="2025-05-20T18:20:34.006" v="4718" actId="478"/>
          <ac:grpSpMkLst>
            <pc:docMk/>
            <pc:sldMk cId="2984208153" sldId="2147482849"/>
            <ac:grpSpMk id="11" creationId="{C5761DE8-917C-7DB6-EA2C-F78CBA541B90}"/>
          </ac:grpSpMkLst>
        </pc:grpChg>
        <pc:grpChg chg="mod">
          <ac:chgData name="Oka, Dr. Dennis Kengo (JP)" userId="aeb014c5-2f18-4035-80ba-4d519a44d38a" providerId="ADAL" clId="{4937CA01-90DA-4D2B-AC0A-761D69F4697E}" dt="2025-05-20T18:22:39.986" v="4801" actId="1076"/>
          <ac:grpSpMkLst>
            <pc:docMk/>
            <pc:sldMk cId="2984208153" sldId="2147482849"/>
            <ac:grpSpMk id="14" creationId="{FDACFF9B-CA59-5545-8B8D-2BD4D0F7976A}"/>
          </ac:grpSpMkLst>
        </pc:grpChg>
        <pc:grpChg chg="mod">
          <ac:chgData name="Oka, Dr. Dennis Kengo (JP)" userId="aeb014c5-2f18-4035-80ba-4d519a44d38a" providerId="ADAL" clId="{4937CA01-90DA-4D2B-AC0A-761D69F4697E}" dt="2025-05-20T18:19:59.203" v="4682"/>
          <ac:grpSpMkLst>
            <pc:docMk/>
            <pc:sldMk cId="2984208153" sldId="2147482849"/>
            <ac:grpSpMk id="17" creationId="{4A9B4BEB-3A1D-7475-27D5-3AB258396FB3}"/>
          </ac:grpSpMkLst>
        </pc:grpChg>
        <pc:grpChg chg="mod">
          <ac:chgData name="Oka, Dr. Dennis Kengo (JP)" userId="aeb014c5-2f18-4035-80ba-4d519a44d38a" providerId="ADAL" clId="{4937CA01-90DA-4D2B-AC0A-761D69F4697E}" dt="2025-05-20T18:19:59.203" v="4682"/>
          <ac:grpSpMkLst>
            <pc:docMk/>
            <pc:sldMk cId="2984208153" sldId="2147482849"/>
            <ac:grpSpMk id="20" creationId="{3B111294-7085-7C8C-59CF-E09B7D2F8CB0}"/>
          </ac:grpSpMkLst>
        </pc:grpChg>
        <pc:grpChg chg="mod">
          <ac:chgData name="Oka, Dr. Dennis Kengo (JP)" userId="aeb014c5-2f18-4035-80ba-4d519a44d38a" providerId="ADAL" clId="{4937CA01-90DA-4D2B-AC0A-761D69F4697E}" dt="2025-05-20T18:22:37.314" v="4791" actId="1076"/>
          <ac:grpSpMkLst>
            <pc:docMk/>
            <pc:sldMk cId="2984208153" sldId="2147482849"/>
            <ac:grpSpMk id="23" creationId="{E6D7D558-0253-79DE-226E-94D53FF34232}"/>
          </ac:grpSpMkLst>
        </pc:grpChg>
        <pc:grpChg chg="mod">
          <ac:chgData name="Oka, Dr. Dennis Kengo (JP)" userId="aeb014c5-2f18-4035-80ba-4d519a44d38a" providerId="ADAL" clId="{4937CA01-90DA-4D2B-AC0A-761D69F4697E}" dt="2025-05-20T20:07:11.942" v="5739"/>
          <ac:grpSpMkLst>
            <pc:docMk/>
            <pc:sldMk cId="2984208153" sldId="2147482849"/>
            <ac:grpSpMk id="26" creationId="{2A1CB9AA-9701-A935-52E9-90DF483FEC09}"/>
          </ac:grpSpMkLst>
        </pc:grpChg>
        <pc:grpChg chg="mod">
          <ac:chgData name="Oka, Dr. Dennis Kengo (JP)" userId="aeb014c5-2f18-4035-80ba-4d519a44d38a" providerId="ADAL" clId="{4937CA01-90DA-4D2B-AC0A-761D69F4697E}" dt="2025-05-20T18:21:16.694" v="4734" actId="1076"/>
          <ac:grpSpMkLst>
            <pc:docMk/>
            <pc:sldMk cId="2984208153" sldId="2147482849"/>
            <ac:grpSpMk id="29" creationId="{9B4E373E-3C5C-D215-198E-983EE0D7BAB7}"/>
          </ac:grpSpMkLst>
        </pc:grpChg>
        <pc:grpChg chg="mod">
          <ac:chgData name="Oka, Dr. Dennis Kengo (JP)" userId="aeb014c5-2f18-4035-80ba-4d519a44d38a" providerId="ADAL" clId="{4937CA01-90DA-4D2B-AC0A-761D69F4697E}" dt="2025-05-20T18:21:30.376" v="4746" actId="1076"/>
          <ac:grpSpMkLst>
            <pc:docMk/>
            <pc:sldMk cId="2984208153" sldId="2147482849"/>
            <ac:grpSpMk id="32" creationId="{60E70511-377D-361E-0E51-F19063E997CA}"/>
          </ac:grpSpMkLst>
        </pc:grpChg>
        <pc:grpChg chg="mod">
          <ac:chgData name="Oka, Dr. Dennis Kengo (JP)" userId="aeb014c5-2f18-4035-80ba-4d519a44d38a" providerId="ADAL" clId="{4937CA01-90DA-4D2B-AC0A-761D69F4697E}" dt="2025-05-20T18:21:47.512" v="4758" actId="1076"/>
          <ac:grpSpMkLst>
            <pc:docMk/>
            <pc:sldMk cId="2984208153" sldId="2147482849"/>
            <ac:grpSpMk id="35" creationId="{96492F2C-B558-97BF-A85D-AA41FC2DF427}"/>
          </ac:grpSpMkLst>
        </pc:grpChg>
        <pc:grpChg chg="mod">
          <ac:chgData name="Oka, Dr. Dennis Kengo (JP)" userId="aeb014c5-2f18-4035-80ba-4d519a44d38a" providerId="ADAL" clId="{4937CA01-90DA-4D2B-AC0A-761D69F4697E}" dt="2025-05-20T18:22:30.512" v="4772" actId="1076"/>
          <ac:grpSpMkLst>
            <pc:docMk/>
            <pc:sldMk cId="2984208153" sldId="2147482849"/>
            <ac:grpSpMk id="38" creationId="{9A290050-7FC3-173B-98EE-46081E518C42}"/>
          </ac:grpSpMkLst>
        </pc:grpChg>
        <pc:picChg chg="mod">
          <ac:chgData name="Oka, Dr. Dennis Kengo (JP)" userId="aeb014c5-2f18-4035-80ba-4d519a44d38a" providerId="ADAL" clId="{4937CA01-90DA-4D2B-AC0A-761D69F4697E}" dt="2025-05-20T18:22:40.970" v="4803"/>
          <ac:picMkLst>
            <pc:docMk/>
            <pc:sldMk cId="2984208153" sldId="2147482849"/>
            <ac:picMk id="10" creationId="{F0CCA666-E7EF-3F2E-F044-D5870E04BD36}"/>
          </ac:picMkLst>
        </pc:picChg>
        <pc:picChg chg="mod">
          <ac:chgData name="Oka, Dr. Dennis Kengo (JP)" userId="aeb014c5-2f18-4035-80ba-4d519a44d38a" providerId="ADAL" clId="{4937CA01-90DA-4D2B-AC0A-761D69F4697E}" dt="2025-05-20T18:20:32.875" v="4716"/>
          <ac:picMkLst>
            <pc:docMk/>
            <pc:sldMk cId="2984208153" sldId="2147482849"/>
            <ac:picMk id="13" creationId="{BFA4AA8C-DBD2-D724-6C40-28A58ABFD4B3}"/>
          </ac:picMkLst>
        </pc:picChg>
        <pc:picChg chg="mod">
          <ac:chgData name="Oka, Dr. Dennis Kengo (JP)" userId="aeb014c5-2f18-4035-80ba-4d519a44d38a" providerId="ADAL" clId="{4937CA01-90DA-4D2B-AC0A-761D69F4697E}" dt="2025-05-20T18:22:39.135" v="4796"/>
          <ac:picMkLst>
            <pc:docMk/>
            <pc:sldMk cId="2984208153" sldId="2147482849"/>
            <ac:picMk id="16" creationId="{BFB716ED-4D6E-DA24-0ECB-D640AB241688}"/>
          </ac:picMkLst>
        </pc:picChg>
        <pc:picChg chg="mod">
          <ac:chgData name="Oka, Dr. Dennis Kengo (JP)" userId="aeb014c5-2f18-4035-80ba-4d519a44d38a" providerId="ADAL" clId="{4937CA01-90DA-4D2B-AC0A-761D69F4697E}" dt="2025-05-20T18:19:59.203" v="4682"/>
          <ac:picMkLst>
            <pc:docMk/>
            <pc:sldMk cId="2984208153" sldId="2147482849"/>
            <ac:picMk id="19" creationId="{CB81E1D1-0F0C-ACAB-0B36-50D1AC4EA10C}"/>
          </ac:picMkLst>
        </pc:picChg>
        <pc:picChg chg="mod">
          <ac:chgData name="Oka, Dr. Dennis Kengo (JP)" userId="aeb014c5-2f18-4035-80ba-4d519a44d38a" providerId="ADAL" clId="{4937CA01-90DA-4D2B-AC0A-761D69F4697E}" dt="2025-05-20T18:19:59.203" v="4682"/>
          <ac:picMkLst>
            <pc:docMk/>
            <pc:sldMk cId="2984208153" sldId="2147482849"/>
            <ac:picMk id="22" creationId="{7523A0D5-7A3E-17AC-97AA-960A6840E47B}"/>
          </ac:picMkLst>
        </pc:picChg>
        <pc:picChg chg="mod">
          <ac:chgData name="Oka, Dr. Dennis Kengo (JP)" userId="aeb014c5-2f18-4035-80ba-4d519a44d38a" providerId="ADAL" clId="{4937CA01-90DA-4D2B-AC0A-761D69F4697E}" dt="2025-05-20T18:22:36.434" v="4789"/>
          <ac:picMkLst>
            <pc:docMk/>
            <pc:sldMk cId="2984208153" sldId="2147482849"/>
            <ac:picMk id="25" creationId="{E241CC2A-B248-57B4-D41E-1E1F7E299B5E}"/>
          </ac:picMkLst>
        </pc:picChg>
        <pc:picChg chg="mod">
          <ac:chgData name="Oka, Dr. Dennis Kengo (JP)" userId="aeb014c5-2f18-4035-80ba-4d519a44d38a" providerId="ADAL" clId="{4937CA01-90DA-4D2B-AC0A-761D69F4697E}" dt="2025-05-20T20:07:22.544" v="5747" actId="207"/>
          <ac:picMkLst>
            <pc:docMk/>
            <pc:sldMk cId="2984208153" sldId="2147482849"/>
            <ac:picMk id="28" creationId="{B977F44A-7CA6-93EE-4385-7F9E0C335930}"/>
          </ac:picMkLst>
        </pc:picChg>
        <pc:picChg chg="mod">
          <ac:chgData name="Oka, Dr. Dennis Kengo (JP)" userId="aeb014c5-2f18-4035-80ba-4d519a44d38a" providerId="ADAL" clId="{4937CA01-90DA-4D2B-AC0A-761D69F4697E}" dt="2025-05-20T18:21:14.065" v="4732"/>
          <ac:picMkLst>
            <pc:docMk/>
            <pc:sldMk cId="2984208153" sldId="2147482849"/>
            <ac:picMk id="31" creationId="{F93C629B-6D7B-1AE1-188E-B9682F940544}"/>
          </ac:picMkLst>
        </pc:picChg>
        <pc:picChg chg="mod">
          <ac:chgData name="Oka, Dr. Dennis Kengo (JP)" userId="aeb014c5-2f18-4035-80ba-4d519a44d38a" providerId="ADAL" clId="{4937CA01-90DA-4D2B-AC0A-761D69F4697E}" dt="2025-05-20T18:21:28.370" v="4744"/>
          <ac:picMkLst>
            <pc:docMk/>
            <pc:sldMk cId="2984208153" sldId="2147482849"/>
            <ac:picMk id="34" creationId="{5D18BBB3-E784-D117-4FEC-04B635880027}"/>
          </ac:picMkLst>
        </pc:picChg>
        <pc:picChg chg="mod">
          <ac:chgData name="Oka, Dr. Dennis Kengo (JP)" userId="aeb014c5-2f18-4035-80ba-4d519a44d38a" providerId="ADAL" clId="{4937CA01-90DA-4D2B-AC0A-761D69F4697E}" dt="2025-05-20T18:21:44.058" v="4756"/>
          <ac:picMkLst>
            <pc:docMk/>
            <pc:sldMk cId="2984208153" sldId="2147482849"/>
            <ac:picMk id="37" creationId="{D9C581A7-D44A-DACC-A0ED-827F55049532}"/>
          </ac:picMkLst>
        </pc:picChg>
        <pc:picChg chg="mod">
          <ac:chgData name="Oka, Dr. Dennis Kengo (JP)" userId="aeb014c5-2f18-4035-80ba-4d519a44d38a" providerId="ADAL" clId="{4937CA01-90DA-4D2B-AC0A-761D69F4697E}" dt="2025-05-20T18:22:23.627" v="4770"/>
          <ac:picMkLst>
            <pc:docMk/>
            <pc:sldMk cId="2984208153" sldId="2147482849"/>
            <ac:picMk id="40" creationId="{DB09320F-AC6F-4DBD-7760-70F91D3859EA}"/>
          </ac:picMkLst>
        </pc:picChg>
      </pc:sldChg>
      <pc:sldChg chg="addSp delSp modSp add mod delAnim modAnim modNotesTx">
        <pc:chgData name="Oka, Dr. Dennis Kengo (JP)" userId="aeb014c5-2f18-4035-80ba-4d519a44d38a" providerId="ADAL" clId="{4937CA01-90DA-4D2B-AC0A-761D69F4697E}" dt="2025-05-20T20:03:10.543" v="5733"/>
        <pc:sldMkLst>
          <pc:docMk/>
          <pc:sldMk cId="4158056361" sldId="2147482850"/>
        </pc:sldMkLst>
        <pc:spChg chg="mod">
          <ac:chgData name="Oka, Dr. Dennis Kengo (JP)" userId="aeb014c5-2f18-4035-80ba-4d519a44d38a" providerId="ADAL" clId="{4937CA01-90DA-4D2B-AC0A-761D69F4697E}" dt="2025-05-20T18:17:45.731" v="4492" actId="20577"/>
          <ac:spMkLst>
            <pc:docMk/>
            <pc:sldMk cId="4158056361" sldId="2147482850"/>
            <ac:spMk id="2" creationId="{5DDD9A3E-29DC-8F7C-BA00-9662864605B7}"/>
          </ac:spMkLst>
        </pc:spChg>
        <pc:spChg chg="add mod">
          <ac:chgData name="Oka, Dr. Dennis Kengo (JP)" userId="aeb014c5-2f18-4035-80ba-4d519a44d38a" providerId="ADAL" clId="{4937CA01-90DA-4D2B-AC0A-761D69F4697E}" dt="2025-05-20T19:02:20.066" v="5037"/>
          <ac:spMkLst>
            <pc:docMk/>
            <pc:sldMk cId="4158056361" sldId="2147482850"/>
            <ac:spMk id="5" creationId="{CD552413-1D70-6AB1-EF7D-ED23EC95AF0F}"/>
          </ac:spMkLst>
        </pc:spChg>
        <pc:spChg chg="mod">
          <ac:chgData name="Oka, Dr. Dennis Kengo (JP)" userId="aeb014c5-2f18-4035-80ba-4d519a44d38a" providerId="ADAL" clId="{4937CA01-90DA-4D2B-AC0A-761D69F4697E}" dt="2025-05-20T18:30:20.467" v="4912" actId="20577"/>
          <ac:spMkLst>
            <pc:docMk/>
            <pc:sldMk cId="4158056361" sldId="2147482850"/>
            <ac:spMk id="6" creationId="{1D5DAA06-0562-C4FE-9266-AF388A21EFDB}"/>
          </ac:spMkLst>
        </pc:spChg>
        <pc:spChg chg="add mod">
          <ac:chgData name="Oka, Dr. Dennis Kengo (JP)" userId="aeb014c5-2f18-4035-80ba-4d519a44d38a" providerId="ADAL" clId="{4937CA01-90DA-4D2B-AC0A-761D69F4697E}" dt="2025-05-20T19:02:20.066" v="5037"/>
          <ac:spMkLst>
            <pc:docMk/>
            <pc:sldMk cId="4158056361" sldId="2147482850"/>
            <ac:spMk id="7" creationId="{8490A82F-F591-6D9F-0BB8-A9AB38BD5CC2}"/>
          </ac:spMkLst>
        </pc:spChg>
        <pc:spChg chg="mod">
          <ac:chgData name="Oka, Dr. Dennis Kengo (JP)" userId="aeb014c5-2f18-4035-80ba-4d519a44d38a" providerId="ADAL" clId="{4937CA01-90DA-4D2B-AC0A-761D69F4697E}" dt="2025-05-20T18:04:39.363" v="3785" actId="1076"/>
          <ac:spMkLst>
            <pc:docMk/>
            <pc:sldMk cId="4158056361" sldId="2147482850"/>
            <ac:spMk id="8" creationId="{62823C6D-F0D8-BD8F-DE8F-B2EC79755312}"/>
          </ac:spMkLst>
        </pc:spChg>
        <pc:spChg chg="mod topLvl">
          <ac:chgData name="Oka, Dr. Dennis Kengo (JP)" userId="aeb014c5-2f18-4035-80ba-4d519a44d38a" providerId="ADAL" clId="{4937CA01-90DA-4D2B-AC0A-761D69F4697E}" dt="2025-05-20T17:53:50.293" v="3584" actId="165"/>
          <ac:spMkLst>
            <pc:docMk/>
            <pc:sldMk cId="4158056361" sldId="2147482850"/>
            <ac:spMk id="9" creationId="{AC0DCCD0-77CB-A1EC-CA7D-374E44FBCAF3}"/>
          </ac:spMkLst>
        </pc:spChg>
        <pc:spChg chg="mod">
          <ac:chgData name="Oka, Dr. Dennis Kengo (JP)" userId="aeb014c5-2f18-4035-80ba-4d519a44d38a" providerId="ADAL" clId="{4937CA01-90DA-4D2B-AC0A-761D69F4697E}" dt="2025-05-20T17:24:20.990" v="2791"/>
          <ac:spMkLst>
            <pc:docMk/>
            <pc:sldMk cId="4158056361" sldId="2147482850"/>
            <ac:spMk id="10" creationId="{35548462-3D42-246C-2DE1-A00BC7E1ABA7}"/>
          </ac:spMkLst>
        </pc:spChg>
        <pc:spChg chg="mod">
          <ac:chgData name="Oka, Dr. Dennis Kengo (JP)" userId="aeb014c5-2f18-4035-80ba-4d519a44d38a" providerId="ADAL" clId="{4937CA01-90DA-4D2B-AC0A-761D69F4697E}" dt="2025-05-20T17:55:20.720" v="3621"/>
          <ac:spMkLst>
            <pc:docMk/>
            <pc:sldMk cId="4158056361" sldId="2147482850"/>
            <ac:spMk id="16" creationId="{6A97DF88-66B7-D3E5-CC7E-C9A9B6921158}"/>
          </ac:spMkLst>
        </pc:spChg>
        <pc:spChg chg="mod">
          <ac:chgData name="Oka, Dr. Dennis Kengo (JP)" userId="aeb014c5-2f18-4035-80ba-4d519a44d38a" providerId="ADAL" clId="{4937CA01-90DA-4D2B-AC0A-761D69F4697E}" dt="2025-05-20T18:06:28.915" v="3799"/>
          <ac:spMkLst>
            <pc:docMk/>
            <pc:sldMk cId="4158056361" sldId="2147482850"/>
            <ac:spMk id="18" creationId="{55199FDE-3D5B-75FC-70E0-B27966588A1C}"/>
          </ac:spMkLst>
        </pc:spChg>
        <pc:spChg chg="mod">
          <ac:chgData name="Oka, Dr. Dennis Kengo (JP)" userId="aeb014c5-2f18-4035-80ba-4d519a44d38a" providerId="ADAL" clId="{4937CA01-90DA-4D2B-AC0A-761D69F4697E}" dt="2025-05-20T20:02:58.885" v="5729"/>
          <ac:spMkLst>
            <pc:docMk/>
            <pc:sldMk cId="4158056361" sldId="2147482850"/>
            <ac:spMk id="22" creationId="{5D0B0F1F-8805-DF2B-AB94-A7A5E2B7C7F3}"/>
          </ac:spMkLst>
        </pc:spChg>
        <pc:spChg chg="add mod">
          <ac:chgData name="Oka, Dr. Dennis Kengo (JP)" userId="aeb014c5-2f18-4035-80ba-4d519a44d38a" providerId="ADAL" clId="{4937CA01-90DA-4D2B-AC0A-761D69F4697E}" dt="2025-05-20T17:45:16.380" v="3394" actId="1076"/>
          <ac:spMkLst>
            <pc:docMk/>
            <pc:sldMk cId="4158056361" sldId="2147482850"/>
            <ac:spMk id="23" creationId="{166E9421-459F-E444-C3A9-2591C0469924}"/>
          </ac:spMkLst>
        </pc:spChg>
        <pc:spChg chg="add mod">
          <ac:chgData name="Oka, Dr. Dennis Kengo (JP)" userId="aeb014c5-2f18-4035-80ba-4d519a44d38a" providerId="ADAL" clId="{4937CA01-90DA-4D2B-AC0A-761D69F4697E}" dt="2025-05-20T17:25:58.861" v="2827" actId="1076"/>
          <ac:spMkLst>
            <pc:docMk/>
            <pc:sldMk cId="4158056361" sldId="2147482850"/>
            <ac:spMk id="24" creationId="{2DF702DE-5263-7256-8413-D6B173B918E8}"/>
          </ac:spMkLst>
        </pc:spChg>
        <pc:spChg chg="del">
          <ac:chgData name="Oka, Dr. Dennis Kengo (JP)" userId="aeb014c5-2f18-4035-80ba-4d519a44d38a" providerId="ADAL" clId="{4937CA01-90DA-4D2B-AC0A-761D69F4697E}" dt="2025-05-20T19:02:19.721" v="5036" actId="478"/>
          <ac:spMkLst>
            <pc:docMk/>
            <pc:sldMk cId="4158056361" sldId="2147482850"/>
            <ac:spMk id="28" creationId="{906FB78B-4AD7-444C-C149-76C3F85B26DF}"/>
          </ac:spMkLst>
        </pc:spChg>
        <pc:spChg chg="del">
          <ac:chgData name="Oka, Dr. Dennis Kengo (JP)" userId="aeb014c5-2f18-4035-80ba-4d519a44d38a" providerId="ADAL" clId="{4937CA01-90DA-4D2B-AC0A-761D69F4697E}" dt="2025-05-20T19:02:19.721" v="5036" actId="478"/>
          <ac:spMkLst>
            <pc:docMk/>
            <pc:sldMk cId="4158056361" sldId="2147482850"/>
            <ac:spMk id="29" creationId="{7D467E80-3E3D-0B86-3582-1E58826485B0}"/>
          </ac:spMkLst>
        </pc:spChg>
        <pc:spChg chg="add mod">
          <ac:chgData name="Oka, Dr. Dennis Kengo (JP)" userId="aeb014c5-2f18-4035-80ba-4d519a44d38a" providerId="ADAL" clId="{4937CA01-90DA-4D2B-AC0A-761D69F4697E}" dt="2025-05-20T17:29:41.165" v="2900" actId="1076"/>
          <ac:spMkLst>
            <pc:docMk/>
            <pc:sldMk cId="4158056361" sldId="2147482850"/>
            <ac:spMk id="38" creationId="{4AC5BB99-527C-9A74-F6F0-F28ADC9C195D}"/>
          </ac:spMkLst>
        </pc:spChg>
        <pc:spChg chg="add mod">
          <ac:chgData name="Oka, Dr. Dennis Kengo (JP)" userId="aeb014c5-2f18-4035-80ba-4d519a44d38a" providerId="ADAL" clId="{4937CA01-90DA-4D2B-AC0A-761D69F4697E}" dt="2025-05-20T20:00:03.918" v="5665" actId="14100"/>
          <ac:spMkLst>
            <pc:docMk/>
            <pc:sldMk cId="4158056361" sldId="2147482850"/>
            <ac:spMk id="49" creationId="{538ACDF2-212C-5DE0-7331-B92A4C9374C9}"/>
          </ac:spMkLst>
        </pc:spChg>
        <pc:spChg chg="del mod topLvl">
          <ac:chgData name="Oka, Dr. Dennis Kengo (JP)" userId="aeb014c5-2f18-4035-80ba-4d519a44d38a" providerId="ADAL" clId="{4937CA01-90DA-4D2B-AC0A-761D69F4697E}" dt="2025-05-20T17:55:18.632" v="3618" actId="478"/>
          <ac:spMkLst>
            <pc:docMk/>
            <pc:sldMk cId="4158056361" sldId="2147482850"/>
            <ac:spMk id="51" creationId="{E9A72829-ED13-4101-D0FC-DA2DE06C69F8}"/>
          </ac:spMkLst>
        </pc:spChg>
        <pc:spChg chg="add mod">
          <ac:chgData name="Oka, Dr. Dennis Kengo (JP)" userId="aeb014c5-2f18-4035-80ba-4d519a44d38a" providerId="ADAL" clId="{4937CA01-90DA-4D2B-AC0A-761D69F4697E}" dt="2025-05-20T17:55:08" v="3613" actId="1076"/>
          <ac:spMkLst>
            <pc:docMk/>
            <pc:sldMk cId="4158056361" sldId="2147482850"/>
            <ac:spMk id="53" creationId="{343072AC-2E7E-8D3E-92DE-03455EA3AAF7}"/>
          </ac:spMkLst>
        </pc:spChg>
        <pc:spChg chg="add mod">
          <ac:chgData name="Oka, Dr. Dennis Kengo (JP)" userId="aeb014c5-2f18-4035-80ba-4d519a44d38a" providerId="ADAL" clId="{4937CA01-90DA-4D2B-AC0A-761D69F4697E}" dt="2025-05-20T17:50:20.485" v="3524" actId="1076"/>
          <ac:spMkLst>
            <pc:docMk/>
            <pc:sldMk cId="4158056361" sldId="2147482850"/>
            <ac:spMk id="54" creationId="{B295A2F3-F01E-D6CD-CA66-C2BE071202EC}"/>
          </ac:spMkLst>
        </pc:spChg>
        <pc:spChg chg="mod">
          <ac:chgData name="Oka, Dr. Dennis Kengo (JP)" userId="aeb014c5-2f18-4035-80ba-4d519a44d38a" providerId="ADAL" clId="{4937CA01-90DA-4D2B-AC0A-761D69F4697E}" dt="2025-05-20T17:45:10.243" v="3392" actId="571"/>
          <ac:spMkLst>
            <pc:docMk/>
            <pc:sldMk cId="4158056361" sldId="2147482850"/>
            <ac:spMk id="59" creationId="{07E7456E-ABBE-77A5-6D00-78F586FD6712}"/>
          </ac:spMkLst>
        </pc:spChg>
        <pc:spChg chg="mod">
          <ac:chgData name="Oka, Dr. Dennis Kengo (JP)" userId="aeb014c5-2f18-4035-80ba-4d519a44d38a" providerId="ADAL" clId="{4937CA01-90DA-4D2B-AC0A-761D69F4697E}" dt="2025-05-20T17:45:10.243" v="3392" actId="571"/>
          <ac:spMkLst>
            <pc:docMk/>
            <pc:sldMk cId="4158056361" sldId="2147482850"/>
            <ac:spMk id="61" creationId="{153BC67B-9A35-8C92-01BA-CDA696B75486}"/>
          </ac:spMkLst>
        </pc:spChg>
        <pc:spChg chg="mod topLvl">
          <ac:chgData name="Oka, Dr. Dennis Kengo (JP)" userId="aeb014c5-2f18-4035-80ba-4d519a44d38a" providerId="ADAL" clId="{4937CA01-90DA-4D2B-AC0A-761D69F4697E}" dt="2025-05-20T17:58:22.008" v="3656" actId="164"/>
          <ac:spMkLst>
            <pc:docMk/>
            <pc:sldMk cId="4158056361" sldId="2147482850"/>
            <ac:spMk id="67" creationId="{3C826186-612F-373C-727E-1D653CDE10A4}"/>
          </ac:spMkLst>
        </pc:spChg>
        <pc:spChg chg="mod topLvl">
          <ac:chgData name="Oka, Dr. Dennis Kengo (JP)" userId="aeb014c5-2f18-4035-80ba-4d519a44d38a" providerId="ADAL" clId="{4937CA01-90DA-4D2B-AC0A-761D69F4697E}" dt="2025-05-20T17:58:22.008" v="3656" actId="164"/>
          <ac:spMkLst>
            <pc:docMk/>
            <pc:sldMk cId="4158056361" sldId="2147482850"/>
            <ac:spMk id="68" creationId="{1CAC576F-91EE-65E3-97BA-F2B0BB956D43}"/>
          </ac:spMkLst>
        </pc:spChg>
        <pc:spChg chg="mod topLvl">
          <ac:chgData name="Oka, Dr. Dennis Kengo (JP)" userId="aeb014c5-2f18-4035-80ba-4d519a44d38a" providerId="ADAL" clId="{4937CA01-90DA-4D2B-AC0A-761D69F4697E}" dt="2025-05-20T17:58:22.008" v="3656" actId="164"/>
          <ac:spMkLst>
            <pc:docMk/>
            <pc:sldMk cId="4158056361" sldId="2147482850"/>
            <ac:spMk id="69" creationId="{7D472D7D-99AA-3527-852E-81D6354115C0}"/>
          </ac:spMkLst>
        </pc:spChg>
        <pc:spChg chg="mod topLvl">
          <ac:chgData name="Oka, Dr. Dennis Kengo (JP)" userId="aeb014c5-2f18-4035-80ba-4d519a44d38a" providerId="ADAL" clId="{4937CA01-90DA-4D2B-AC0A-761D69F4697E}" dt="2025-05-20T17:58:22.008" v="3656" actId="164"/>
          <ac:spMkLst>
            <pc:docMk/>
            <pc:sldMk cId="4158056361" sldId="2147482850"/>
            <ac:spMk id="70" creationId="{C0CB96C8-C285-520F-7652-EE3C0AE710C4}"/>
          </ac:spMkLst>
        </pc:spChg>
        <pc:spChg chg="mod topLvl">
          <ac:chgData name="Oka, Dr. Dennis Kengo (JP)" userId="aeb014c5-2f18-4035-80ba-4d519a44d38a" providerId="ADAL" clId="{4937CA01-90DA-4D2B-AC0A-761D69F4697E}" dt="2025-05-20T17:58:22.008" v="3656" actId="164"/>
          <ac:spMkLst>
            <pc:docMk/>
            <pc:sldMk cId="4158056361" sldId="2147482850"/>
            <ac:spMk id="71" creationId="{29599EE7-CE21-CC50-6389-37AE9E3396A3}"/>
          </ac:spMkLst>
        </pc:spChg>
        <pc:spChg chg="mod topLvl">
          <ac:chgData name="Oka, Dr. Dennis Kengo (JP)" userId="aeb014c5-2f18-4035-80ba-4d519a44d38a" providerId="ADAL" clId="{4937CA01-90DA-4D2B-AC0A-761D69F4697E}" dt="2025-05-20T17:58:22.008" v="3656" actId="164"/>
          <ac:spMkLst>
            <pc:docMk/>
            <pc:sldMk cId="4158056361" sldId="2147482850"/>
            <ac:spMk id="72" creationId="{C64DFCC8-2757-E585-4940-BC8C05B0D922}"/>
          </ac:spMkLst>
        </pc:spChg>
        <pc:spChg chg="mod topLvl">
          <ac:chgData name="Oka, Dr. Dennis Kengo (JP)" userId="aeb014c5-2f18-4035-80ba-4d519a44d38a" providerId="ADAL" clId="{4937CA01-90DA-4D2B-AC0A-761D69F4697E}" dt="2025-05-20T17:58:22.008" v="3656" actId="164"/>
          <ac:spMkLst>
            <pc:docMk/>
            <pc:sldMk cId="4158056361" sldId="2147482850"/>
            <ac:spMk id="73" creationId="{BF20CF34-5397-AAAC-28B3-7F59971DE5DF}"/>
          </ac:spMkLst>
        </pc:spChg>
        <pc:spChg chg="mod topLvl">
          <ac:chgData name="Oka, Dr. Dennis Kengo (JP)" userId="aeb014c5-2f18-4035-80ba-4d519a44d38a" providerId="ADAL" clId="{4937CA01-90DA-4D2B-AC0A-761D69F4697E}" dt="2025-05-20T17:58:22.008" v="3656" actId="164"/>
          <ac:spMkLst>
            <pc:docMk/>
            <pc:sldMk cId="4158056361" sldId="2147482850"/>
            <ac:spMk id="74" creationId="{3C60BC20-0FD4-453D-AD1A-A515A08F58F1}"/>
          </ac:spMkLst>
        </pc:spChg>
        <pc:spChg chg="mod">
          <ac:chgData name="Oka, Dr. Dennis Kengo (JP)" userId="aeb014c5-2f18-4035-80ba-4d519a44d38a" providerId="ADAL" clId="{4937CA01-90DA-4D2B-AC0A-761D69F4697E}" dt="2025-05-20T17:58:22.008" v="3656" actId="164"/>
          <ac:spMkLst>
            <pc:docMk/>
            <pc:sldMk cId="4158056361" sldId="2147482850"/>
            <ac:spMk id="75" creationId="{D8B01FC5-E794-5DE1-710E-BD537EC3AA37}"/>
          </ac:spMkLst>
        </pc:spChg>
        <pc:spChg chg="mod topLvl">
          <ac:chgData name="Oka, Dr. Dennis Kengo (JP)" userId="aeb014c5-2f18-4035-80ba-4d519a44d38a" providerId="ADAL" clId="{4937CA01-90DA-4D2B-AC0A-761D69F4697E}" dt="2025-05-20T17:58:22.008" v="3656" actId="164"/>
          <ac:spMkLst>
            <pc:docMk/>
            <pc:sldMk cId="4158056361" sldId="2147482850"/>
            <ac:spMk id="76" creationId="{ED2C36C8-C19E-D449-D357-FD9A01B3805E}"/>
          </ac:spMkLst>
        </pc:spChg>
        <pc:spChg chg="del mod topLvl">
          <ac:chgData name="Oka, Dr. Dennis Kengo (JP)" userId="aeb014c5-2f18-4035-80ba-4d519a44d38a" providerId="ADAL" clId="{4937CA01-90DA-4D2B-AC0A-761D69F4697E}" dt="2025-05-20T17:53:34.428" v="3575" actId="478"/>
          <ac:spMkLst>
            <pc:docMk/>
            <pc:sldMk cId="4158056361" sldId="2147482850"/>
            <ac:spMk id="77" creationId="{75485DFD-D805-DB04-CA54-2D232374C026}"/>
          </ac:spMkLst>
        </pc:spChg>
        <pc:spChg chg="add mod topLvl">
          <ac:chgData name="Oka, Dr. Dennis Kengo (JP)" userId="aeb014c5-2f18-4035-80ba-4d519a44d38a" providerId="ADAL" clId="{4937CA01-90DA-4D2B-AC0A-761D69F4697E}" dt="2025-05-20T17:59:04.893" v="3660" actId="1076"/>
          <ac:spMkLst>
            <pc:docMk/>
            <pc:sldMk cId="4158056361" sldId="2147482850"/>
            <ac:spMk id="78" creationId="{44FDCC87-00FA-A282-37FD-1DC68BE34ADA}"/>
          </ac:spMkLst>
        </pc:spChg>
        <pc:spChg chg="mod topLvl">
          <ac:chgData name="Oka, Dr. Dennis Kengo (JP)" userId="aeb014c5-2f18-4035-80ba-4d519a44d38a" providerId="ADAL" clId="{4937CA01-90DA-4D2B-AC0A-761D69F4697E}" dt="2025-05-20T17:54:13.079" v="3589" actId="164"/>
          <ac:spMkLst>
            <pc:docMk/>
            <pc:sldMk cId="4158056361" sldId="2147482850"/>
            <ac:spMk id="80" creationId="{A7C67647-7B67-54F9-213D-0D40A6EA16D0}"/>
          </ac:spMkLst>
        </pc:spChg>
        <pc:spChg chg="mod">
          <ac:chgData name="Oka, Dr. Dennis Kengo (JP)" userId="aeb014c5-2f18-4035-80ba-4d519a44d38a" providerId="ADAL" clId="{4937CA01-90DA-4D2B-AC0A-761D69F4697E}" dt="2025-05-20T17:54:13.079" v="3589" actId="164"/>
          <ac:spMkLst>
            <pc:docMk/>
            <pc:sldMk cId="4158056361" sldId="2147482850"/>
            <ac:spMk id="81" creationId="{180C7AD1-68D9-E59B-316A-846BBDA32976}"/>
          </ac:spMkLst>
        </pc:spChg>
        <pc:spChg chg="mod topLvl">
          <ac:chgData name="Oka, Dr. Dennis Kengo (JP)" userId="aeb014c5-2f18-4035-80ba-4d519a44d38a" providerId="ADAL" clId="{4937CA01-90DA-4D2B-AC0A-761D69F4697E}" dt="2025-05-20T17:54:13.079" v="3589" actId="164"/>
          <ac:spMkLst>
            <pc:docMk/>
            <pc:sldMk cId="4158056361" sldId="2147482850"/>
            <ac:spMk id="82" creationId="{E8260683-77A7-2861-555D-E48B51128530}"/>
          </ac:spMkLst>
        </pc:spChg>
        <pc:spChg chg="mod topLvl">
          <ac:chgData name="Oka, Dr. Dennis Kengo (JP)" userId="aeb014c5-2f18-4035-80ba-4d519a44d38a" providerId="ADAL" clId="{4937CA01-90DA-4D2B-AC0A-761D69F4697E}" dt="2025-05-20T17:54:13.079" v="3589" actId="164"/>
          <ac:spMkLst>
            <pc:docMk/>
            <pc:sldMk cId="4158056361" sldId="2147482850"/>
            <ac:spMk id="83" creationId="{8985F3CE-46F6-0E9D-CEA9-9688B745C7E7}"/>
          </ac:spMkLst>
        </pc:spChg>
        <pc:spChg chg="mod topLvl">
          <ac:chgData name="Oka, Dr. Dennis Kengo (JP)" userId="aeb014c5-2f18-4035-80ba-4d519a44d38a" providerId="ADAL" clId="{4937CA01-90DA-4D2B-AC0A-761D69F4697E}" dt="2025-05-20T17:54:13.079" v="3589" actId="164"/>
          <ac:spMkLst>
            <pc:docMk/>
            <pc:sldMk cId="4158056361" sldId="2147482850"/>
            <ac:spMk id="84" creationId="{4165874F-9E82-D83F-A9C6-18B029136324}"/>
          </ac:spMkLst>
        </pc:spChg>
        <pc:spChg chg="mod topLvl">
          <ac:chgData name="Oka, Dr. Dennis Kengo (JP)" userId="aeb014c5-2f18-4035-80ba-4d519a44d38a" providerId="ADAL" clId="{4937CA01-90DA-4D2B-AC0A-761D69F4697E}" dt="2025-05-20T17:54:13.079" v="3589" actId="164"/>
          <ac:spMkLst>
            <pc:docMk/>
            <pc:sldMk cId="4158056361" sldId="2147482850"/>
            <ac:spMk id="85" creationId="{60B88B43-9009-CDC0-963B-DC6B027116A4}"/>
          </ac:spMkLst>
        </pc:spChg>
        <pc:spChg chg="mod topLvl">
          <ac:chgData name="Oka, Dr. Dennis Kengo (JP)" userId="aeb014c5-2f18-4035-80ba-4d519a44d38a" providerId="ADAL" clId="{4937CA01-90DA-4D2B-AC0A-761D69F4697E}" dt="2025-05-20T17:54:13.079" v="3589" actId="164"/>
          <ac:spMkLst>
            <pc:docMk/>
            <pc:sldMk cId="4158056361" sldId="2147482850"/>
            <ac:spMk id="86" creationId="{64AE4A6B-AE6A-0203-24D3-038D3E56551A}"/>
          </ac:spMkLst>
        </pc:spChg>
        <pc:spChg chg="mod topLvl">
          <ac:chgData name="Oka, Dr. Dennis Kengo (JP)" userId="aeb014c5-2f18-4035-80ba-4d519a44d38a" providerId="ADAL" clId="{4937CA01-90DA-4D2B-AC0A-761D69F4697E}" dt="2025-05-20T17:54:13.079" v="3589" actId="164"/>
          <ac:spMkLst>
            <pc:docMk/>
            <pc:sldMk cId="4158056361" sldId="2147482850"/>
            <ac:spMk id="87" creationId="{F22CD18A-D335-76F4-7728-BE7E3552D201}"/>
          </ac:spMkLst>
        </pc:spChg>
        <pc:spChg chg="mod topLvl">
          <ac:chgData name="Oka, Dr. Dennis Kengo (JP)" userId="aeb014c5-2f18-4035-80ba-4d519a44d38a" providerId="ADAL" clId="{4937CA01-90DA-4D2B-AC0A-761D69F4697E}" dt="2025-05-20T17:54:13.079" v="3589" actId="164"/>
          <ac:spMkLst>
            <pc:docMk/>
            <pc:sldMk cId="4158056361" sldId="2147482850"/>
            <ac:spMk id="88" creationId="{85425752-7BFA-76C2-EEDB-63D02EF79560}"/>
          </ac:spMkLst>
        </pc:spChg>
        <pc:spChg chg="mod topLvl">
          <ac:chgData name="Oka, Dr. Dennis Kengo (JP)" userId="aeb014c5-2f18-4035-80ba-4d519a44d38a" providerId="ADAL" clId="{4937CA01-90DA-4D2B-AC0A-761D69F4697E}" dt="2025-05-20T17:54:13.079" v="3589" actId="164"/>
          <ac:spMkLst>
            <pc:docMk/>
            <pc:sldMk cId="4158056361" sldId="2147482850"/>
            <ac:spMk id="89" creationId="{BCF3003F-B3AD-0580-E6EC-90AB8E8ECCF0}"/>
          </ac:spMkLst>
        </pc:spChg>
        <pc:spChg chg="del mod topLvl">
          <ac:chgData name="Oka, Dr. Dennis Kengo (JP)" userId="aeb014c5-2f18-4035-80ba-4d519a44d38a" providerId="ADAL" clId="{4937CA01-90DA-4D2B-AC0A-761D69F4697E}" dt="2025-05-20T17:54:00.180" v="3587" actId="478"/>
          <ac:spMkLst>
            <pc:docMk/>
            <pc:sldMk cId="4158056361" sldId="2147482850"/>
            <ac:spMk id="90" creationId="{3DE9155C-73EC-57B7-3ED6-B1FA4AF5B490}"/>
          </ac:spMkLst>
        </pc:spChg>
        <pc:spChg chg="add mod">
          <ac:chgData name="Oka, Dr. Dennis Kengo (JP)" userId="aeb014c5-2f18-4035-80ba-4d519a44d38a" providerId="ADAL" clId="{4937CA01-90DA-4D2B-AC0A-761D69F4697E}" dt="2025-05-20T17:54:04.267" v="3588" actId="571"/>
          <ac:spMkLst>
            <pc:docMk/>
            <pc:sldMk cId="4158056361" sldId="2147482850"/>
            <ac:spMk id="91" creationId="{681DDB4D-AADB-3E6D-6620-17E650DEA268}"/>
          </ac:spMkLst>
        </pc:spChg>
        <pc:spChg chg="add mod">
          <ac:chgData name="Oka, Dr. Dennis Kengo (JP)" userId="aeb014c5-2f18-4035-80ba-4d519a44d38a" providerId="ADAL" clId="{4937CA01-90DA-4D2B-AC0A-761D69F4697E}" dt="2025-05-20T17:55:10.080" v="3614" actId="20577"/>
          <ac:spMkLst>
            <pc:docMk/>
            <pc:sldMk cId="4158056361" sldId="2147482850"/>
            <ac:spMk id="93" creationId="{52C299B1-3940-0279-4373-FF0DA07368F4}"/>
          </ac:spMkLst>
        </pc:spChg>
        <pc:spChg chg="add mod">
          <ac:chgData name="Oka, Dr. Dennis Kengo (JP)" userId="aeb014c5-2f18-4035-80ba-4d519a44d38a" providerId="ADAL" clId="{4937CA01-90DA-4D2B-AC0A-761D69F4697E}" dt="2025-05-20T17:55:14.430" v="3616" actId="571"/>
          <ac:spMkLst>
            <pc:docMk/>
            <pc:sldMk cId="4158056361" sldId="2147482850"/>
            <ac:spMk id="95" creationId="{F8C1B8AF-30DB-F10E-82D0-3FA53E230C27}"/>
          </ac:spMkLst>
        </pc:spChg>
        <pc:spChg chg="add mod">
          <ac:chgData name="Oka, Dr. Dennis Kengo (JP)" userId="aeb014c5-2f18-4035-80ba-4d519a44d38a" providerId="ADAL" clId="{4937CA01-90DA-4D2B-AC0A-761D69F4697E}" dt="2025-05-20T18:01:13.378" v="3677"/>
          <ac:spMkLst>
            <pc:docMk/>
            <pc:sldMk cId="4158056361" sldId="2147482850"/>
            <ac:spMk id="97" creationId="{80FB3EFC-1C18-95A6-DE14-D9FB1389168A}"/>
          </ac:spMkLst>
        </pc:spChg>
        <pc:spChg chg="mod">
          <ac:chgData name="Oka, Dr. Dennis Kengo (JP)" userId="aeb014c5-2f18-4035-80ba-4d519a44d38a" providerId="ADAL" clId="{4937CA01-90DA-4D2B-AC0A-761D69F4697E}" dt="2025-05-20T17:58:07.724" v="3653" actId="571"/>
          <ac:spMkLst>
            <pc:docMk/>
            <pc:sldMk cId="4158056361" sldId="2147482850"/>
            <ac:spMk id="99" creationId="{07EC4DB0-7F5B-528B-07F6-CAEDA3A50199}"/>
          </ac:spMkLst>
        </pc:spChg>
        <pc:spChg chg="mod">
          <ac:chgData name="Oka, Dr. Dennis Kengo (JP)" userId="aeb014c5-2f18-4035-80ba-4d519a44d38a" providerId="ADAL" clId="{4937CA01-90DA-4D2B-AC0A-761D69F4697E}" dt="2025-05-20T17:58:07.724" v="3653" actId="571"/>
          <ac:spMkLst>
            <pc:docMk/>
            <pc:sldMk cId="4158056361" sldId="2147482850"/>
            <ac:spMk id="100" creationId="{BBEF469F-5734-8E3E-B358-41C52EEA45A8}"/>
          </ac:spMkLst>
        </pc:spChg>
        <pc:spChg chg="mod">
          <ac:chgData name="Oka, Dr. Dennis Kengo (JP)" userId="aeb014c5-2f18-4035-80ba-4d519a44d38a" providerId="ADAL" clId="{4937CA01-90DA-4D2B-AC0A-761D69F4697E}" dt="2025-05-20T17:58:07.724" v="3653" actId="571"/>
          <ac:spMkLst>
            <pc:docMk/>
            <pc:sldMk cId="4158056361" sldId="2147482850"/>
            <ac:spMk id="101" creationId="{92D71CA1-155A-11C6-77A6-A8F1A884E4E4}"/>
          </ac:spMkLst>
        </pc:spChg>
        <pc:spChg chg="mod">
          <ac:chgData name="Oka, Dr. Dennis Kengo (JP)" userId="aeb014c5-2f18-4035-80ba-4d519a44d38a" providerId="ADAL" clId="{4937CA01-90DA-4D2B-AC0A-761D69F4697E}" dt="2025-05-20T17:58:07.724" v="3653" actId="571"/>
          <ac:spMkLst>
            <pc:docMk/>
            <pc:sldMk cId="4158056361" sldId="2147482850"/>
            <ac:spMk id="102" creationId="{DF3141B7-788B-68F7-72D7-16BF1ABC6281}"/>
          </ac:spMkLst>
        </pc:spChg>
        <pc:spChg chg="mod">
          <ac:chgData name="Oka, Dr. Dennis Kengo (JP)" userId="aeb014c5-2f18-4035-80ba-4d519a44d38a" providerId="ADAL" clId="{4937CA01-90DA-4D2B-AC0A-761D69F4697E}" dt="2025-05-20T17:58:07.724" v="3653" actId="571"/>
          <ac:spMkLst>
            <pc:docMk/>
            <pc:sldMk cId="4158056361" sldId="2147482850"/>
            <ac:spMk id="103" creationId="{0F7DB67E-2271-8FD2-5C0F-18E16ECB8585}"/>
          </ac:spMkLst>
        </pc:spChg>
        <pc:spChg chg="mod">
          <ac:chgData name="Oka, Dr. Dennis Kengo (JP)" userId="aeb014c5-2f18-4035-80ba-4d519a44d38a" providerId="ADAL" clId="{4937CA01-90DA-4D2B-AC0A-761D69F4697E}" dt="2025-05-20T17:58:07.724" v="3653" actId="571"/>
          <ac:spMkLst>
            <pc:docMk/>
            <pc:sldMk cId="4158056361" sldId="2147482850"/>
            <ac:spMk id="104" creationId="{9D4952AE-5A4C-16EF-64AA-E8922CC7B597}"/>
          </ac:spMkLst>
        </pc:spChg>
        <pc:spChg chg="mod">
          <ac:chgData name="Oka, Dr. Dennis Kengo (JP)" userId="aeb014c5-2f18-4035-80ba-4d519a44d38a" providerId="ADAL" clId="{4937CA01-90DA-4D2B-AC0A-761D69F4697E}" dt="2025-05-20T17:58:07.724" v="3653" actId="571"/>
          <ac:spMkLst>
            <pc:docMk/>
            <pc:sldMk cId="4158056361" sldId="2147482850"/>
            <ac:spMk id="105" creationId="{C127E1FE-827A-2DCA-8782-D44D0FFD4D47}"/>
          </ac:spMkLst>
        </pc:spChg>
        <pc:spChg chg="mod">
          <ac:chgData name="Oka, Dr. Dennis Kengo (JP)" userId="aeb014c5-2f18-4035-80ba-4d519a44d38a" providerId="ADAL" clId="{4937CA01-90DA-4D2B-AC0A-761D69F4697E}" dt="2025-05-20T17:58:07.724" v="3653" actId="571"/>
          <ac:spMkLst>
            <pc:docMk/>
            <pc:sldMk cId="4158056361" sldId="2147482850"/>
            <ac:spMk id="106" creationId="{9201546B-08DF-36BF-7AAD-4C539222A811}"/>
          </ac:spMkLst>
        </pc:spChg>
        <pc:spChg chg="mod">
          <ac:chgData name="Oka, Dr. Dennis Kengo (JP)" userId="aeb014c5-2f18-4035-80ba-4d519a44d38a" providerId="ADAL" clId="{4937CA01-90DA-4D2B-AC0A-761D69F4697E}" dt="2025-05-20T17:58:07.724" v="3653" actId="571"/>
          <ac:spMkLst>
            <pc:docMk/>
            <pc:sldMk cId="4158056361" sldId="2147482850"/>
            <ac:spMk id="108" creationId="{0F2C0572-0ED2-3DAE-EB77-A0ED8BBEDC45}"/>
          </ac:spMkLst>
        </pc:spChg>
        <pc:spChg chg="mod">
          <ac:chgData name="Oka, Dr. Dennis Kengo (JP)" userId="aeb014c5-2f18-4035-80ba-4d519a44d38a" providerId="ADAL" clId="{4937CA01-90DA-4D2B-AC0A-761D69F4697E}" dt="2025-05-20T17:58:07.724" v="3653" actId="571"/>
          <ac:spMkLst>
            <pc:docMk/>
            <pc:sldMk cId="4158056361" sldId="2147482850"/>
            <ac:spMk id="109" creationId="{3EC91CB4-BA1C-858B-88F3-AA982624FDD2}"/>
          </ac:spMkLst>
        </pc:spChg>
        <pc:spChg chg="add mod">
          <ac:chgData name="Oka, Dr. Dennis Kengo (JP)" userId="aeb014c5-2f18-4035-80ba-4d519a44d38a" providerId="ADAL" clId="{4937CA01-90DA-4D2B-AC0A-761D69F4697E}" dt="2025-05-20T18:07:10.763" v="3809" actId="1076"/>
          <ac:spMkLst>
            <pc:docMk/>
            <pc:sldMk cId="4158056361" sldId="2147482850"/>
            <ac:spMk id="112" creationId="{387C3199-2D0C-F794-2BD4-3B0F7A21A386}"/>
          </ac:spMkLst>
        </pc:spChg>
        <pc:spChg chg="add mod">
          <ac:chgData name="Oka, Dr. Dennis Kengo (JP)" userId="aeb014c5-2f18-4035-80ba-4d519a44d38a" providerId="ADAL" clId="{4937CA01-90DA-4D2B-AC0A-761D69F4697E}" dt="2025-05-20T18:16:42.571" v="4406" actId="20577"/>
          <ac:spMkLst>
            <pc:docMk/>
            <pc:sldMk cId="4158056361" sldId="2147482850"/>
            <ac:spMk id="116" creationId="{A5230B14-6482-7F4B-0E28-70B92CBB6086}"/>
          </ac:spMkLst>
        </pc:spChg>
        <pc:grpChg chg="del mod">
          <ac:chgData name="Oka, Dr. Dennis Kengo (JP)" userId="aeb014c5-2f18-4035-80ba-4d519a44d38a" providerId="ADAL" clId="{4937CA01-90DA-4D2B-AC0A-761D69F4697E}" dt="2025-05-20T17:24:21.849" v="2792" actId="478"/>
          <ac:grpSpMkLst>
            <pc:docMk/>
            <pc:sldMk cId="4158056361" sldId="2147482850"/>
            <ac:grpSpMk id="5" creationId="{06E95B71-C95E-0A92-1095-2006ABD2C20C}"/>
          </ac:grpSpMkLst>
        </pc:grpChg>
        <pc:grpChg chg="del mod">
          <ac:chgData name="Oka, Dr. Dennis Kengo (JP)" userId="aeb014c5-2f18-4035-80ba-4d519a44d38a" providerId="ADAL" clId="{4937CA01-90DA-4D2B-AC0A-761D69F4697E}" dt="2025-05-20T17:53:50.293" v="3584" actId="165"/>
          <ac:grpSpMkLst>
            <pc:docMk/>
            <pc:sldMk cId="4158056361" sldId="2147482850"/>
            <ac:grpSpMk id="7" creationId="{10C52D46-ECD6-4288-9628-F3DB4F07BCA4}"/>
          </ac:grpSpMkLst>
        </pc:grpChg>
        <pc:grpChg chg="mod">
          <ac:chgData name="Oka, Dr. Dennis Kengo (JP)" userId="aeb014c5-2f18-4035-80ba-4d519a44d38a" providerId="ADAL" clId="{4937CA01-90DA-4D2B-AC0A-761D69F4697E}" dt="2025-05-20T17:55:20.720" v="3619"/>
          <ac:grpSpMkLst>
            <pc:docMk/>
            <pc:sldMk cId="4158056361" sldId="2147482850"/>
            <ac:grpSpMk id="13" creationId="{B0B3735F-89BD-6321-11B7-2EC824C4664E}"/>
          </ac:grpSpMkLst>
        </pc:grpChg>
        <pc:grpChg chg="mod">
          <ac:chgData name="Oka, Dr. Dennis Kengo (JP)" userId="aeb014c5-2f18-4035-80ba-4d519a44d38a" providerId="ADAL" clId="{4937CA01-90DA-4D2B-AC0A-761D69F4697E}" dt="2025-05-20T18:06:28.915" v="3797"/>
          <ac:grpSpMkLst>
            <pc:docMk/>
            <pc:sldMk cId="4158056361" sldId="2147482850"/>
            <ac:grpSpMk id="14" creationId="{4714A361-5DDE-C857-F3F1-73692BE33DD4}"/>
          </ac:grpSpMkLst>
        </pc:grpChg>
        <pc:grpChg chg="mod">
          <ac:chgData name="Oka, Dr. Dennis Kengo (JP)" userId="aeb014c5-2f18-4035-80ba-4d519a44d38a" providerId="ADAL" clId="{4937CA01-90DA-4D2B-AC0A-761D69F4697E}" dt="2025-05-20T20:03:03.803" v="5731" actId="1076"/>
          <ac:grpSpMkLst>
            <pc:docMk/>
            <pc:sldMk cId="4158056361" sldId="2147482850"/>
            <ac:grpSpMk id="20" creationId="{8A6EBE27-0654-D6E0-0F1A-AA18BB0CD48E}"/>
          </ac:grpSpMkLst>
        </pc:grpChg>
        <pc:grpChg chg="add del mod">
          <ac:chgData name="Oka, Dr. Dennis Kengo (JP)" userId="aeb014c5-2f18-4035-80ba-4d519a44d38a" providerId="ADAL" clId="{4937CA01-90DA-4D2B-AC0A-761D69F4697E}" dt="2025-05-20T17:53:18.156" v="3570" actId="165"/>
          <ac:grpSpMkLst>
            <pc:docMk/>
            <pc:sldMk cId="4158056361" sldId="2147482850"/>
            <ac:grpSpMk id="50" creationId="{14C668A6-583A-F4CC-EE14-A4BD730EEAA8}"/>
          </ac:grpSpMkLst>
        </pc:grpChg>
        <pc:grpChg chg="add mod">
          <ac:chgData name="Oka, Dr. Dennis Kengo (JP)" userId="aeb014c5-2f18-4035-80ba-4d519a44d38a" providerId="ADAL" clId="{4937CA01-90DA-4D2B-AC0A-761D69F4697E}" dt="2025-05-20T17:45:14.006" v="3393" actId="207"/>
          <ac:grpSpMkLst>
            <pc:docMk/>
            <pc:sldMk cId="4158056361" sldId="2147482850"/>
            <ac:grpSpMk id="56" creationId="{17775B42-E831-8355-47E8-495EB22921F3}"/>
          </ac:grpSpMkLst>
        </pc:grpChg>
        <pc:grpChg chg="mod">
          <ac:chgData name="Oka, Dr. Dennis Kengo (JP)" userId="aeb014c5-2f18-4035-80ba-4d519a44d38a" providerId="ADAL" clId="{4937CA01-90DA-4D2B-AC0A-761D69F4697E}" dt="2025-05-20T17:45:10.243" v="3392" actId="571"/>
          <ac:grpSpMkLst>
            <pc:docMk/>
            <pc:sldMk cId="4158056361" sldId="2147482850"/>
            <ac:grpSpMk id="57" creationId="{80D28DCB-5C57-B260-A3CD-D2F9031AF0BD}"/>
          </ac:grpSpMkLst>
        </pc:grpChg>
        <pc:grpChg chg="mod">
          <ac:chgData name="Oka, Dr. Dennis Kengo (JP)" userId="aeb014c5-2f18-4035-80ba-4d519a44d38a" providerId="ADAL" clId="{4937CA01-90DA-4D2B-AC0A-761D69F4697E}" dt="2025-05-20T17:45:10.243" v="3392" actId="571"/>
          <ac:grpSpMkLst>
            <pc:docMk/>
            <pc:sldMk cId="4158056361" sldId="2147482850"/>
            <ac:grpSpMk id="58" creationId="{F053A8FE-6637-1518-AE88-EC11D2A07FF6}"/>
          </ac:grpSpMkLst>
        </pc:grpChg>
        <pc:grpChg chg="mod">
          <ac:chgData name="Oka, Dr. Dennis Kengo (JP)" userId="aeb014c5-2f18-4035-80ba-4d519a44d38a" providerId="ADAL" clId="{4937CA01-90DA-4D2B-AC0A-761D69F4697E}" dt="2025-05-20T17:53:25.468" v="3573" actId="1076"/>
          <ac:grpSpMkLst>
            <pc:docMk/>
            <pc:sldMk cId="4158056361" sldId="2147482850"/>
            <ac:grpSpMk id="66" creationId="{46F28B65-1C36-F780-C737-3F4C19BAF984}"/>
          </ac:grpSpMkLst>
        </pc:grpChg>
        <pc:grpChg chg="mod">
          <ac:chgData name="Oka, Dr. Dennis Kengo (JP)" userId="aeb014c5-2f18-4035-80ba-4d519a44d38a" providerId="ADAL" clId="{4937CA01-90DA-4D2B-AC0A-761D69F4697E}" dt="2025-05-20T17:55:08" v="3613" actId="1076"/>
          <ac:grpSpMkLst>
            <pc:docMk/>
            <pc:sldMk cId="4158056361" sldId="2147482850"/>
            <ac:grpSpMk id="94" creationId="{03B26C3F-3625-6C65-9E9F-2D143596A1C0}"/>
          </ac:grpSpMkLst>
        </pc:grpChg>
        <pc:grpChg chg="del">
          <ac:chgData name="Oka, Dr. Dennis Kengo (JP)" userId="aeb014c5-2f18-4035-80ba-4d519a44d38a" providerId="ADAL" clId="{4937CA01-90DA-4D2B-AC0A-761D69F4697E}" dt="2025-05-20T17:59:28.409" v="3663" actId="478"/>
          <ac:grpSpMkLst>
            <pc:docMk/>
            <pc:sldMk cId="4158056361" sldId="2147482850"/>
            <ac:grpSpMk id="98" creationId="{089B5DCD-1663-D57F-7E93-1A4C20F3DCC5}"/>
          </ac:grpSpMkLst>
        </pc:grpChg>
        <pc:graphicFrameChg chg="add mod">
          <ac:chgData name="Oka, Dr. Dennis Kengo (JP)" userId="aeb014c5-2f18-4035-80ba-4d519a44d38a" providerId="ADAL" clId="{4937CA01-90DA-4D2B-AC0A-761D69F4697E}" dt="2025-05-20T19:50:14.538" v="5493" actId="1076"/>
          <ac:graphicFrameMkLst>
            <pc:docMk/>
            <pc:sldMk cId="4158056361" sldId="2147482850"/>
            <ac:graphicFrameMk id="10" creationId="{880AF0E3-128E-2545-39CC-BE1698824CA0}"/>
          </ac:graphicFrameMkLst>
        </pc:graphicFrameChg>
        <pc:graphicFrameChg chg="add mod">
          <ac:chgData name="Oka, Dr. Dennis Kengo (JP)" userId="aeb014c5-2f18-4035-80ba-4d519a44d38a" providerId="ADAL" clId="{4937CA01-90DA-4D2B-AC0A-761D69F4697E}" dt="2025-05-20T19:50:10.277" v="5492" actId="571"/>
          <ac:graphicFrameMkLst>
            <pc:docMk/>
            <pc:sldMk cId="4158056361" sldId="2147482850"/>
            <ac:graphicFrameMk id="11" creationId="{D51E3123-3FC9-4010-B392-83B5ADD47B2F}"/>
          </ac:graphicFrameMkLst>
        </pc:graphicFrameChg>
        <pc:graphicFrameChg chg="add mod modGraphic">
          <ac:chgData name="Oka, Dr. Dennis Kengo (JP)" userId="aeb014c5-2f18-4035-80ba-4d519a44d38a" providerId="ADAL" clId="{4937CA01-90DA-4D2B-AC0A-761D69F4697E}" dt="2025-05-20T19:50:01.303" v="5490" actId="6549"/>
          <ac:graphicFrameMkLst>
            <pc:docMk/>
            <pc:sldMk cId="4158056361" sldId="2147482850"/>
            <ac:graphicFrameMk id="64" creationId="{48882885-4DA0-BB35-7EF6-CF6960536B10}"/>
          </ac:graphicFrameMkLst>
        </pc:graphicFrameChg>
        <pc:picChg chg="mod topLvl">
          <ac:chgData name="Oka, Dr. Dennis Kengo (JP)" userId="aeb014c5-2f18-4035-80ba-4d519a44d38a" providerId="ADAL" clId="{4937CA01-90DA-4D2B-AC0A-761D69F4697E}" dt="2025-05-20T17:53:50.293" v="3584" actId="165"/>
          <ac:picMkLst>
            <pc:docMk/>
            <pc:sldMk cId="4158056361" sldId="2147482850"/>
            <ac:picMk id="11" creationId="{C7498063-84DA-9475-DDDE-143C22B616C4}"/>
          </ac:picMkLst>
        </pc:picChg>
        <pc:picChg chg="mod">
          <ac:chgData name="Oka, Dr. Dennis Kengo (JP)" userId="aeb014c5-2f18-4035-80ba-4d519a44d38a" providerId="ADAL" clId="{4937CA01-90DA-4D2B-AC0A-761D69F4697E}" dt="2025-05-20T18:06:28.915" v="3798"/>
          <ac:picMkLst>
            <pc:docMk/>
            <pc:sldMk cId="4158056361" sldId="2147482850"/>
            <ac:picMk id="19" creationId="{F435C0A8-A1F9-BB81-CFD3-AAE5FDF962F5}"/>
          </ac:picMkLst>
        </pc:picChg>
        <pc:picChg chg="mod">
          <ac:chgData name="Oka, Dr. Dennis Kengo (JP)" userId="aeb014c5-2f18-4035-80ba-4d519a44d38a" providerId="ADAL" clId="{4937CA01-90DA-4D2B-AC0A-761D69F4697E}" dt="2025-05-20T17:24:20.990" v="2790"/>
          <ac:picMkLst>
            <pc:docMk/>
            <pc:sldMk cId="4158056361" sldId="2147482850"/>
            <ac:picMk id="20" creationId="{A887A0C9-F3E4-BB65-03AC-732B2EDD56CC}"/>
          </ac:picMkLst>
        </pc:picChg>
        <pc:picChg chg="mod">
          <ac:chgData name="Oka, Dr. Dennis Kengo (JP)" userId="aeb014c5-2f18-4035-80ba-4d519a44d38a" providerId="ADAL" clId="{4937CA01-90DA-4D2B-AC0A-761D69F4697E}" dt="2025-05-20T17:55:20.720" v="3620"/>
          <ac:picMkLst>
            <pc:docMk/>
            <pc:sldMk cId="4158056361" sldId="2147482850"/>
            <ac:picMk id="21" creationId="{AB302CEC-D7F8-9DBF-FF70-922EE196C664}"/>
          </ac:picMkLst>
        </pc:picChg>
        <pc:picChg chg="add del mod">
          <ac:chgData name="Oka, Dr. Dennis Kengo (JP)" userId="aeb014c5-2f18-4035-80ba-4d519a44d38a" providerId="ADAL" clId="{4937CA01-90DA-4D2B-AC0A-761D69F4697E}" dt="2025-05-20T17:45:06.467" v="3391" actId="478"/>
          <ac:picMkLst>
            <pc:docMk/>
            <pc:sldMk cId="4158056361" sldId="2147482850"/>
            <ac:picMk id="22" creationId="{293075BE-0BC7-C3A3-78C3-82F0BD8746FE}"/>
          </ac:picMkLst>
        </pc:picChg>
        <pc:picChg chg="mod">
          <ac:chgData name="Oka, Dr. Dennis Kengo (JP)" userId="aeb014c5-2f18-4035-80ba-4d519a44d38a" providerId="ADAL" clId="{4937CA01-90DA-4D2B-AC0A-761D69F4697E}" dt="2025-05-20T20:02:58.884" v="5728"/>
          <ac:picMkLst>
            <pc:docMk/>
            <pc:sldMk cId="4158056361" sldId="2147482850"/>
            <ac:picMk id="25" creationId="{8F4BAD73-3EB4-B448-F28D-A4395C94E005}"/>
          </ac:picMkLst>
        </pc:picChg>
        <pc:picChg chg="mod topLvl">
          <ac:chgData name="Oka, Dr. Dennis Kengo (JP)" userId="aeb014c5-2f18-4035-80ba-4d519a44d38a" providerId="ADAL" clId="{4937CA01-90DA-4D2B-AC0A-761D69F4697E}" dt="2025-05-20T17:53:18.156" v="3570" actId="165"/>
          <ac:picMkLst>
            <pc:docMk/>
            <pc:sldMk cId="4158056361" sldId="2147482850"/>
            <ac:picMk id="52" creationId="{7AC5C573-6FF5-5D06-0BE5-5E9066D10032}"/>
          </ac:picMkLst>
        </pc:picChg>
        <pc:picChg chg="add mod">
          <ac:chgData name="Oka, Dr. Dennis Kengo (JP)" userId="aeb014c5-2f18-4035-80ba-4d519a44d38a" providerId="ADAL" clId="{4937CA01-90DA-4D2B-AC0A-761D69F4697E}" dt="2025-05-20T17:55:08" v="3613" actId="1076"/>
          <ac:picMkLst>
            <pc:docMk/>
            <pc:sldMk cId="4158056361" sldId="2147482850"/>
            <ac:picMk id="55" creationId="{4A4B82DF-C31F-A5A3-4BFD-909F55DC9926}"/>
          </ac:picMkLst>
        </pc:picChg>
        <pc:picChg chg="mod">
          <ac:chgData name="Oka, Dr. Dennis Kengo (JP)" userId="aeb014c5-2f18-4035-80ba-4d519a44d38a" providerId="ADAL" clId="{4937CA01-90DA-4D2B-AC0A-761D69F4697E}" dt="2025-05-20T17:45:10.243" v="3392" actId="571"/>
          <ac:picMkLst>
            <pc:docMk/>
            <pc:sldMk cId="4158056361" sldId="2147482850"/>
            <ac:picMk id="60" creationId="{2A1D6431-9D08-1753-5C3B-235C0C48D146}"/>
          </ac:picMkLst>
        </pc:picChg>
        <pc:picChg chg="mod">
          <ac:chgData name="Oka, Dr. Dennis Kengo (JP)" userId="aeb014c5-2f18-4035-80ba-4d519a44d38a" providerId="ADAL" clId="{4937CA01-90DA-4D2B-AC0A-761D69F4697E}" dt="2025-05-20T17:45:10.243" v="3392" actId="571"/>
          <ac:picMkLst>
            <pc:docMk/>
            <pc:sldMk cId="4158056361" sldId="2147482850"/>
            <ac:picMk id="62" creationId="{0025422F-F4D8-62EC-0AAE-EFD2F086D5E3}"/>
          </ac:picMkLst>
        </pc:picChg>
        <pc:picChg chg="add mod">
          <ac:chgData name="Oka, Dr. Dennis Kengo (JP)" userId="aeb014c5-2f18-4035-80ba-4d519a44d38a" providerId="ADAL" clId="{4937CA01-90DA-4D2B-AC0A-761D69F4697E}" dt="2025-05-20T17:45:23.012" v="3396" actId="1076"/>
          <ac:picMkLst>
            <pc:docMk/>
            <pc:sldMk cId="4158056361" sldId="2147482850"/>
            <ac:picMk id="63" creationId="{21538D49-8229-16DA-E90C-0E571A06144D}"/>
          </ac:picMkLst>
        </pc:picChg>
        <pc:cxnChg chg="add mod">
          <ac:chgData name="Oka, Dr. Dennis Kengo (JP)" userId="aeb014c5-2f18-4035-80ba-4d519a44d38a" providerId="ADAL" clId="{4937CA01-90DA-4D2B-AC0A-761D69F4697E}" dt="2025-05-20T17:27:20.996" v="2851" actId="1076"/>
          <ac:cxnSpMkLst>
            <pc:docMk/>
            <pc:sldMk cId="4158056361" sldId="2147482850"/>
            <ac:cxnSpMk id="26" creationId="{5FF31688-8B44-4424-215C-733ABFD938B7}"/>
          </ac:cxnSpMkLst>
        </pc:cxnChg>
        <pc:cxnChg chg="add mod">
          <ac:chgData name="Oka, Dr. Dennis Kengo (JP)" userId="aeb014c5-2f18-4035-80ba-4d519a44d38a" providerId="ADAL" clId="{4937CA01-90DA-4D2B-AC0A-761D69F4697E}" dt="2025-05-20T17:50:10.851" v="3520" actId="1076"/>
          <ac:cxnSpMkLst>
            <pc:docMk/>
            <pc:sldMk cId="4158056361" sldId="2147482850"/>
            <ac:cxnSpMk id="35" creationId="{4393A4D7-C8DA-12C9-AAA5-CE39AAE51F76}"/>
          </ac:cxnSpMkLst>
        </pc:cxnChg>
        <pc:cxnChg chg="add mod">
          <ac:chgData name="Oka, Dr. Dennis Kengo (JP)" userId="aeb014c5-2f18-4035-80ba-4d519a44d38a" providerId="ADAL" clId="{4937CA01-90DA-4D2B-AC0A-761D69F4697E}" dt="2025-05-20T17:56:13.103" v="3623" actId="1076"/>
          <ac:cxnSpMkLst>
            <pc:docMk/>
            <pc:sldMk cId="4158056361" sldId="2147482850"/>
            <ac:cxnSpMk id="65" creationId="{5B99525E-6C75-79AE-C7AA-4B4A6A735A36}"/>
          </ac:cxnSpMkLst>
        </pc:cxnChg>
        <pc:cxnChg chg="add mod">
          <ac:chgData name="Oka, Dr. Dennis Kengo (JP)" userId="aeb014c5-2f18-4035-80ba-4d519a44d38a" providerId="ADAL" clId="{4937CA01-90DA-4D2B-AC0A-761D69F4697E}" dt="2025-05-20T17:56:17.654" v="3625" actId="1076"/>
          <ac:cxnSpMkLst>
            <pc:docMk/>
            <pc:sldMk cId="4158056361" sldId="2147482850"/>
            <ac:cxnSpMk id="96" creationId="{EB193B2D-0945-060B-BAD8-667A4F72B214}"/>
          </ac:cxnSpMkLst>
        </pc:cxnChg>
        <pc:cxnChg chg="add del mod">
          <ac:chgData name="Oka, Dr. Dennis Kengo (JP)" userId="aeb014c5-2f18-4035-80ba-4d519a44d38a" providerId="ADAL" clId="{4937CA01-90DA-4D2B-AC0A-761D69F4697E}" dt="2025-05-20T18:05:18.804" v="3791" actId="478"/>
          <ac:cxnSpMkLst>
            <pc:docMk/>
            <pc:sldMk cId="4158056361" sldId="2147482850"/>
            <ac:cxnSpMk id="111" creationId="{1EAD3BC8-E5DB-9E13-0326-53F1755E0DB2}"/>
          </ac:cxnSpMkLst>
        </pc:cxnChg>
        <pc:cxnChg chg="add del">
          <ac:chgData name="Oka, Dr. Dennis Kengo (JP)" userId="aeb014c5-2f18-4035-80ba-4d519a44d38a" providerId="ADAL" clId="{4937CA01-90DA-4D2B-AC0A-761D69F4697E}" dt="2025-05-20T18:05:38.315" v="3793" actId="478"/>
          <ac:cxnSpMkLst>
            <pc:docMk/>
            <pc:sldMk cId="4158056361" sldId="2147482850"/>
            <ac:cxnSpMk id="118" creationId="{8BFD3337-8F3F-C663-36E8-8C2A7E863FCE}"/>
          </ac:cxnSpMkLst>
        </pc:cxnChg>
        <pc:cxnChg chg="add del mod">
          <ac:chgData name="Oka, Dr. Dennis Kengo (JP)" userId="aeb014c5-2f18-4035-80ba-4d519a44d38a" providerId="ADAL" clId="{4937CA01-90DA-4D2B-AC0A-761D69F4697E}" dt="2025-05-20T18:06:44.315" v="3803" actId="478"/>
          <ac:cxnSpMkLst>
            <pc:docMk/>
            <pc:sldMk cId="4158056361" sldId="2147482850"/>
            <ac:cxnSpMk id="119" creationId="{A9D2648B-5AD7-AA1D-5941-BB5BD6633693}"/>
          </ac:cxnSpMkLst>
        </pc:cxnChg>
        <pc:cxnChg chg="add mod">
          <ac:chgData name="Oka, Dr. Dennis Kengo (JP)" userId="aeb014c5-2f18-4035-80ba-4d519a44d38a" providerId="ADAL" clId="{4937CA01-90DA-4D2B-AC0A-761D69F4697E}" dt="2025-05-20T18:07:04.096" v="3808" actId="1076"/>
          <ac:cxnSpMkLst>
            <pc:docMk/>
            <pc:sldMk cId="4158056361" sldId="2147482850"/>
            <ac:cxnSpMk id="121" creationId="{B92863FA-E631-FB89-C332-633BF247C433}"/>
          </ac:cxnSpMkLst>
        </pc:cxnChg>
      </pc:sldChg>
      <pc:sldChg chg="addSp delSp modSp new mod modNotesTx">
        <pc:chgData name="Oka, Dr. Dennis Kengo (JP)" userId="aeb014c5-2f18-4035-80ba-4d519a44d38a" providerId="ADAL" clId="{4937CA01-90DA-4D2B-AC0A-761D69F4697E}" dt="2025-05-20T19:56:46.202" v="5651"/>
        <pc:sldMkLst>
          <pc:docMk/>
          <pc:sldMk cId="3292851217" sldId="2147482851"/>
        </pc:sldMkLst>
        <pc:spChg chg="mod">
          <ac:chgData name="Oka, Dr. Dennis Kengo (JP)" userId="aeb014c5-2f18-4035-80ba-4d519a44d38a" providerId="ADAL" clId="{4937CA01-90DA-4D2B-AC0A-761D69F4697E}" dt="2025-05-20T18:30:15.741" v="4911" actId="20577"/>
          <ac:spMkLst>
            <pc:docMk/>
            <pc:sldMk cId="3292851217" sldId="2147482851"/>
            <ac:spMk id="2" creationId="{1F91B08D-8B15-D872-B59F-B3B18C26CE2F}"/>
          </ac:spMkLst>
        </pc:spChg>
        <pc:spChg chg="del">
          <ac:chgData name="Oka, Dr. Dennis Kengo (JP)" userId="aeb014c5-2f18-4035-80ba-4d519a44d38a" providerId="ADAL" clId="{4937CA01-90DA-4D2B-AC0A-761D69F4697E}" dt="2025-05-20T19:55:06.583" v="5625" actId="478"/>
          <ac:spMkLst>
            <pc:docMk/>
            <pc:sldMk cId="3292851217" sldId="2147482851"/>
            <ac:spMk id="3" creationId="{6A65CE86-4312-4571-9E03-195EED6881FC}"/>
          </ac:spMkLst>
        </pc:spChg>
        <pc:spChg chg="add mod">
          <ac:chgData name="Oka, Dr. Dennis Kengo (JP)" userId="aeb014c5-2f18-4035-80ba-4d519a44d38a" providerId="ADAL" clId="{4937CA01-90DA-4D2B-AC0A-761D69F4697E}" dt="2025-05-20T19:55:06.815" v="5626"/>
          <ac:spMkLst>
            <pc:docMk/>
            <pc:sldMk cId="3292851217" sldId="2147482851"/>
            <ac:spMk id="6" creationId="{C66BC265-43BC-B5FC-C91D-DDEEA4B2058C}"/>
          </ac:spMkLst>
        </pc:spChg>
        <pc:spChg chg="add mod">
          <ac:chgData name="Oka, Dr. Dennis Kengo (JP)" userId="aeb014c5-2f18-4035-80ba-4d519a44d38a" providerId="ADAL" clId="{4937CA01-90DA-4D2B-AC0A-761D69F4697E}" dt="2025-05-20T19:56:46.202" v="5651"/>
          <ac:spMkLst>
            <pc:docMk/>
            <pc:sldMk cId="3292851217" sldId="2147482851"/>
            <ac:spMk id="7" creationId="{1FD56CC0-3B1A-BF31-20E7-41532DDAC20B}"/>
          </ac:spMkLst>
        </pc:spChg>
        <pc:graphicFrameChg chg="add mod modGraphic">
          <ac:chgData name="Oka, Dr. Dennis Kengo (JP)" userId="aeb014c5-2f18-4035-80ba-4d519a44d38a" providerId="ADAL" clId="{4937CA01-90DA-4D2B-AC0A-761D69F4697E}" dt="2025-05-20T19:48:39.045" v="5484" actId="207"/>
          <ac:graphicFrameMkLst>
            <pc:docMk/>
            <pc:sldMk cId="3292851217" sldId="2147482851"/>
            <ac:graphicFrameMk id="5" creationId="{97CF6030-DFC6-61B4-6B02-7E3B7D57A708}"/>
          </ac:graphicFrameMkLst>
        </pc:graphicFrameChg>
      </pc:sldChg>
      <pc:sldChg chg="modSp add mod modNotesTx">
        <pc:chgData name="Oka, Dr. Dennis Kengo (JP)" userId="aeb014c5-2f18-4035-80ba-4d519a44d38a" providerId="ADAL" clId="{4937CA01-90DA-4D2B-AC0A-761D69F4697E}" dt="2025-05-20T19:41:59.233" v="5269" actId="20577"/>
        <pc:sldMkLst>
          <pc:docMk/>
          <pc:sldMk cId="1713847962" sldId="2147482852"/>
        </pc:sldMkLst>
        <pc:graphicFrameChg chg="mod modGraphic">
          <ac:chgData name="Oka, Dr. Dennis Kengo (JP)" userId="aeb014c5-2f18-4035-80ba-4d519a44d38a" providerId="ADAL" clId="{4937CA01-90DA-4D2B-AC0A-761D69F4697E}" dt="2025-05-20T19:25:13.473" v="5062" actId="255"/>
          <ac:graphicFrameMkLst>
            <pc:docMk/>
            <pc:sldMk cId="1713847962" sldId="2147482852"/>
            <ac:graphicFrameMk id="5" creationId="{3E122910-030B-3C5F-8A4F-3E7A1FB1468A}"/>
          </ac:graphicFrameMkLst>
        </pc:graphicFrameChg>
      </pc:sldChg>
      <pc:sldChg chg="add del">
        <pc:chgData name="Oka, Dr. Dennis Kengo (JP)" userId="aeb014c5-2f18-4035-80ba-4d519a44d38a" providerId="ADAL" clId="{4937CA01-90DA-4D2B-AC0A-761D69F4697E}" dt="2025-05-20T19:32:02.461" v="5132" actId="47"/>
        <pc:sldMkLst>
          <pc:docMk/>
          <pc:sldMk cId="1164782547" sldId="2147482853"/>
        </pc:sldMkLst>
      </pc:sldChg>
      <pc:sldChg chg="addSp delSp modSp new mod modAnim modNotesTx">
        <pc:chgData name="Oka, Dr. Dennis Kengo (JP)" userId="aeb014c5-2f18-4035-80ba-4d519a44d38a" providerId="ADAL" clId="{4937CA01-90DA-4D2B-AC0A-761D69F4697E}" dt="2025-05-20T20:06:33.015" v="5738" actId="207"/>
        <pc:sldMkLst>
          <pc:docMk/>
          <pc:sldMk cId="807174339" sldId="2147482854"/>
        </pc:sldMkLst>
        <pc:spChg chg="mod">
          <ac:chgData name="Oka, Dr. Dennis Kengo (JP)" userId="aeb014c5-2f18-4035-80ba-4d519a44d38a" providerId="ADAL" clId="{4937CA01-90DA-4D2B-AC0A-761D69F4697E}" dt="2025-05-20T19:31:34.019" v="5099"/>
          <ac:spMkLst>
            <pc:docMk/>
            <pc:sldMk cId="807174339" sldId="2147482854"/>
            <ac:spMk id="2" creationId="{87EE6CA0-49F6-399C-34CA-F249457B3B3E}"/>
          </ac:spMkLst>
        </pc:spChg>
        <pc:spChg chg="del">
          <ac:chgData name="Oka, Dr. Dennis Kengo (JP)" userId="aeb014c5-2f18-4035-80ba-4d519a44d38a" providerId="ADAL" clId="{4937CA01-90DA-4D2B-AC0A-761D69F4697E}" dt="2025-05-20T19:58:00.733" v="5655" actId="478"/>
          <ac:spMkLst>
            <pc:docMk/>
            <pc:sldMk cId="807174339" sldId="2147482854"/>
            <ac:spMk id="3" creationId="{21EA1505-2BAA-E005-6930-DBC2AE4DA900}"/>
          </ac:spMkLst>
        </pc:spChg>
        <pc:spChg chg="add mod">
          <ac:chgData name="Oka, Dr. Dennis Kengo (JP)" userId="aeb014c5-2f18-4035-80ba-4d519a44d38a" providerId="ADAL" clId="{4937CA01-90DA-4D2B-AC0A-761D69F4697E}" dt="2025-05-20T19:59:10.610" v="5662" actId="207"/>
          <ac:spMkLst>
            <pc:docMk/>
            <pc:sldMk cId="807174339" sldId="2147482854"/>
            <ac:spMk id="5" creationId="{47DCE60A-9C7F-F449-4990-C6ADB2C7CDD7}"/>
          </ac:spMkLst>
        </pc:spChg>
        <pc:spChg chg="add mod">
          <ac:chgData name="Oka, Dr. Dennis Kengo (JP)" userId="aeb014c5-2f18-4035-80ba-4d519a44d38a" providerId="ADAL" clId="{4937CA01-90DA-4D2B-AC0A-761D69F4697E}" dt="2025-05-20T19:59:01.616" v="5661" actId="207"/>
          <ac:spMkLst>
            <pc:docMk/>
            <pc:sldMk cId="807174339" sldId="2147482854"/>
            <ac:spMk id="6" creationId="{844C9092-F90C-929A-94DD-0FA16669C609}"/>
          </ac:spMkLst>
        </pc:spChg>
        <pc:spChg chg="add mod">
          <ac:chgData name="Oka, Dr. Dennis Kengo (JP)" userId="aeb014c5-2f18-4035-80ba-4d519a44d38a" providerId="ADAL" clId="{4937CA01-90DA-4D2B-AC0A-761D69F4697E}" dt="2025-05-20T20:06:33.015" v="5738" actId="207"/>
          <ac:spMkLst>
            <pc:docMk/>
            <pc:sldMk cId="807174339" sldId="2147482854"/>
            <ac:spMk id="7" creationId="{D3ACA376-CB6F-A5C6-F4BA-708B51D62D4D}"/>
          </ac:spMkLst>
        </pc:spChg>
        <pc:spChg chg="mod">
          <ac:chgData name="Oka, Dr. Dennis Kengo (JP)" userId="aeb014c5-2f18-4035-80ba-4d519a44d38a" providerId="ADAL" clId="{4937CA01-90DA-4D2B-AC0A-761D69F4697E}" dt="2025-05-20T19:31:23.403" v="5097"/>
          <ac:spMkLst>
            <pc:docMk/>
            <pc:sldMk cId="807174339" sldId="2147482854"/>
            <ac:spMk id="9" creationId="{82B6C9C4-42A1-51DE-86A9-D0AF3400038E}"/>
          </ac:spMkLst>
        </pc:spChg>
        <pc:spChg chg="mod">
          <ac:chgData name="Oka, Dr. Dennis Kengo (JP)" userId="aeb014c5-2f18-4035-80ba-4d519a44d38a" providerId="ADAL" clId="{4937CA01-90DA-4D2B-AC0A-761D69F4697E}" dt="2025-05-20T19:31:23.403" v="5097"/>
          <ac:spMkLst>
            <pc:docMk/>
            <pc:sldMk cId="807174339" sldId="2147482854"/>
            <ac:spMk id="12" creationId="{7B2BE408-6D62-8B5D-DFCA-B89220F548FD}"/>
          </ac:spMkLst>
        </pc:spChg>
        <pc:spChg chg="mod">
          <ac:chgData name="Oka, Dr. Dennis Kengo (JP)" userId="aeb014c5-2f18-4035-80ba-4d519a44d38a" providerId="ADAL" clId="{4937CA01-90DA-4D2B-AC0A-761D69F4697E}" dt="2025-05-20T19:31:23.403" v="5097"/>
          <ac:spMkLst>
            <pc:docMk/>
            <pc:sldMk cId="807174339" sldId="2147482854"/>
            <ac:spMk id="15" creationId="{BA195798-05DB-1204-BC55-785645A21836}"/>
          </ac:spMkLst>
        </pc:spChg>
        <pc:spChg chg="add mod">
          <ac:chgData name="Oka, Dr. Dennis Kengo (JP)" userId="aeb014c5-2f18-4035-80ba-4d519a44d38a" providerId="ADAL" clId="{4937CA01-90DA-4D2B-AC0A-761D69F4697E}" dt="2025-05-20T19:31:23.403" v="5097"/>
          <ac:spMkLst>
            <pc:docMk/>
            <pc:sldMk cId="807174339" sldId="2147482854"/>
            <ac:spMk id="19" creationId="{5C88C467-EEDF-9D5B-3311-543FF509830A}"/>
          </ac:spMkLst>
        </pc:spChg>
        <pc:spChg chg="mod">
          <ac:chgData name="Oka, Dr. Dennis Kengo (JP)" userId="aeb014c5-2f18-4035-80ba-4d519a44d38a" providerId="ADAL" clId="{4937CA01-90DA-4D2B-AC0A-761D69F4697E}" dt="2025-05-20T19:31:23.403" v="5097"/>
          <ac:spMkLst>
            <pc:docMk/>
            <pc:sldMk cId="807174339" sldId="2147482854"/>
            <ac:spMk id="21" creationId="{E289D832-36CD-51FA-80C1-BD613A9433C9}"/>
          </ac:spMkLst>
        </pc:spChg>
        <pc:spChg chg="mod">
          <ac:chgData name="Oka, Dr. Dennis Kengo (JP)" userId="aeb014c5-2f18-4035-80ba-4d519a44d38a" providerId="ADAL" clId="{4937CA01-90DA-4D2B-AC0A-761D69F4697E}" dt="2025-05-20T19:31:23.403" v="5097"/>
          <ac:spMkLst>
            <pc:docMk/>
            <pc:sldMk cId="807174339" sldId="2147482854"/>
            <ac:spMk id="24" creationId="{9CAE4053-262C-6401-95C7-817285B7D372}"/>
          </ac:spMkLst>
        </pc:spChg>
        <pc:spChg chg="add mod">
          <ac:chgData name="Oka, Dr. Dennis Kengo (JP)" userId="aeb014c5-2f18-4035-80ba-4d519a44d38a" providerId="ADAL" clId="{4937CA01-90DA-4D2B-AC0A-761D69F4697E}" dt="2025-05-20T19:55:48.754" v="5649" actId="20577"/>
          <ac:spMkLst>
            <pc:docMk/>
            <pc:sldMk cId="807174339" sldId="2147482854"/>
            <ac:spMk id="26" creationId="{F5D3C61A-5B2D-EECB-63D9-C2327611D595}"/>
          </ac:spMkLst>
        </pc:spChg>
        <pc:spChg chg="add mod">
          <ac:chgData name="Oka, Dr. Dennis Kengo (JP)" userId="aeb014c5-2f18-4035-80ba-4d519a44d38a" providerId="ADAL" clId="{4937CA01-90DA-4D2B-AC0A-761D69F4697E}" dt="2025-05-20T19:58:00.963" v="5656"/>
          <ac:spMkLst>
            <pc:docMk/>
            <pc:sldMk cId="807174339" sldId="2147482854"/>
            <ac:spMk id="27" creationId="{D655EE26-B8F7-2DFF-66FE-8919399566D6}"/>
          </ac:spMkLst>
        </pc:spChg>
        <pc:picChg chg="mod">
          <ac:chgData name="Oka, Dr. Dennis Kengo (JP)" userId="aeb014c5-2f18-4035-80ba-4d519a44d38a" providerId="ADAL" clId="{4937CA01-90DA-4D2B-AC0A-761D69F4697E}" dt="2025-05-20T19:31:23.403" v="5097"/>
          <ac:picMkLst>
            <pc:docMk/>
            <pc:sldMk cId="807174339" sldId="2147482854"/>
            <ac:picMk id="25" creationId="{A428C3DD-A263-660D-F71B-FD838786839C}"/>
          </ac:picMkLst>
        </pc:picChg>
      </pc:sldChg>
      <pc:sldMasterChg chg="delSldLayout">
        <pc:chgData name="Oka, Dr. Dennis Kengo (JP)" userId="aeb014c5-2f18-4035-80ba-4d519a44d38a" providerId="ADAL" clId="{4937CA01-90DA-4D2B-AC0A-761D69F4697E}" dt="2025-05-20T19:32:02.461" v="5132" actId="47"/>
        <pc:sldMasterMkLst>
          <pc:docMk/>
          <pc:sldMasterMk cId="386244251" sldId="2147483648"/>
        </pc:sldMasterMkLst>
        <pc:sldLayoutChg chg="del">
          <pc:chgData name="Oka, Dr. Dennis Kengo (JP)" userId="aeb014c5-2f18-4035-80ba-4d519a44d38a" providerId="ADAL" clId="{4937CA01-90DA-4D2B-AC0A-761D69F4697E}" dt="2025-05-20T19:32:02.461" v="5132" actId="47"/>
          <pc:sldLayoutMkLst>
            <pc:docMk/>
            <pc:sldMasterMk cId="386244251" sldId="2147483648"/>
            <pc:sldLayoutMk cId="2534568764" sldId="2147483768"/>
          </pc:sldLayoutMkLst>
        </pc:sldLayoutChg>
      </pc:sldMasterChg>
    </pc:docChg>
  </pc:docChgLst>
  <pc:docChgLst>
    <pc:chgData name="Oka, Dr. Dennis Kengo (JP)" userId="aeb014c5-2f18-4035-80ba-4d519a44d38a" providerId="ADAL" clId="{92C215DD-2F26-4BD6-8294-13FBB0A2F8A7}"/>
    <pc:docChg chg="undo custSel addSld delSld modSld modSection">
      <pc:chgData name="Oka, Dr. Dennis Kengo (JP)" userId="aeb014c5-2f18-4035-80ba-4d519a44d38a" providerId="ADAL" clId="{92C215DD-2F26-4BD6-8294-13FBB0A2F8A7}" dt="2025-05-15T15:43:43.760" v="167" actId="20577"/>
      <pc:docMkLst>
        <pc:docMk/>
      </pc:docMkLst>
      <pc:sldChg chg="del">
        <pc:chgData name="Oka, Dr. Dennis Kengo (JP)" userId="aeb014c5-2f18-4035-80ba-4d519a44d38a" providerId="ADAL" clId="{92C215DD-2F26-4BD6-8294-13FBB0A2F8A7}" dt="2025-05-14T18:43:29.838" v="18" actId="47"/>
        <pc:sldMkLst>
          <pc:docMk/>
          <pc:sldMk cId="2115831695" sldId="2134808552"/>
        </pc:sldMkLst>
      </pc:sldChg>
      <pc:sldChg chg="modNotesTx">
        <pc:chgData name="Oka, Dr. Dennis Kengo (JP)" userId="aeb014c5-2f18-4035-80ba-4d519a44d38a" providerId="ADAL" clId="{92C215DD-2F26-4BD6-8294-13FBB0A2F8A7}" dt="2025-05-15T15:37:53.243" v="140" actId="20577"/>
        <pc:sldMkLst>
          <pc:docMk/>
          <pc:sldMk cId="662665077" sldId="2134808588"/>
        </pc:sldMkLst>
      </pc:sldChg>
      <pc:sldChg chg="modNotesTx">
        <pc:chgData name="Oka, Dr. Dennis Kengo (JP)" userId="aeb014c5-2f18-4035-80ba-4d519a44d38a" providerId="ADAL" clId="{92C215DD-2F26-4BD6-8294-13FBB0A2F8A7}" dt="2025-05-15T15:36:35.233" v="124" actId="20577"/>
        <pc:sldMkLst>
          <pc:docMk/>
          <pc:sldMk cId="761531386" sldId="2134808589"/>
        </pc:sldMkLst>
      </pc:sldChg>
      <pc:sldChg chg="modNotesTx">
        <pc:chgData name="Oka, Dr. Dennis Kengo (JP)" userId="aeb014c5-2f18-4035-80ba-4d519a44d38a" providerId="ADAL" clId="{92C215DD-2F26-4BD6-8294-13FBB0A2F8A7}" dt="2025-05-15T15:15:02.498" v="41" actId="20577"/>
        <pc:sldMkLst>
          <pc:docMk/>
          <pc:sldMk cId="1509253937" sldId="2147482793"/>
        </pc:sldMkLst>
      </pc:sldChg>
      <pc:sldChg chg="modNotesTx">
        <pc:chgData name="Oka, Dr. Dennis Kengo (JP)" userId="aeb014c5-2f18-4035-80ba-4d519a44d38a" providerId="ADAL" clId="{92C215DD-2F26-4BD6-8294-13FBB0A2F8A7}" dt="2025-05-15T15:17:11.923" v="52" actId="20577"/>
        <pc:sldMkLst>
          <pc:docMk/>
          <pc:sldMk cId="2143368257" sldId="2147482794"/>
        </pc:sldMkLst>
      </pc:sldChg>
      <pc:sldChg chg="modNotesTx">
        <pc:chgData name="Oka, Dr. Dennis Kengo (JP)" userId="aeb014c5-2f18-4035-80ba-4d519a44d38a" providerId="ADAL" clId="{92C215DD-2F26-4BD6-8294-13FBB0A2F8A7}" dt="2025-05-15T15:18:31.466" v="56" actId="20577"/>
        <pc:sldMkLst>
          <pc:docMk/>
          <pc:sldMk cId="3663075995" sldId="2147482795"/>
        </pc:sldMkLst>
      </pc:sldChg>
      <pc:sldChg chg="modNotesTx">
        <pc:chgData name="Oka, Dr. Dennis Kengo (JP)" userId="aeb014c5-2f18-4035-80ba-4d519a44d38a" providerId="ADAL" clId="{92C215DD-2F26-4BD6-8294-13FBB0A2F8A7}" dt="2025-05-14T18:40:33.640" v="10" actId="20577"/>
        <pc:sldMkLst>
          <pc:docMk/>
          <pc:sldMk cId="1512448600" sldId="2147482798"/>
        </pc:sldMkLst>
      </pc:sldChg>
      <pc:sldChg chg="del">
        <pc:chgData name="Oka, Dr. Dennis Kengo (JP)" userId="aeb014c5-2f18-4035-80ba-4d519a44d38a" providerId="ADAL" clId="{92C215DD-2F26-4BD6-8294-13FBB0A2F8A7}" dt="2025-05-14T18:39:19.337" v="1" actId="47"/>
        <pc:sldMkLst>
          <pc:docMk/>
          <pc:sldMk cId="3422985291" sldId="2147482799"/>
        </pc:sldMkLst>
      </pc:sldChg>
      <pc:sldChg chg="del">
        <pc:chgData name="Oka, Dr. Dennis Kengo (JP)" userId="aeb014c5-2f18-4035-80ba-4d519a44d38a" providerId="ADAL" clId="{92C215DD-2F26-4BD6-8294-13FBB0A2F8A7}" dt="2025-05-14T18:39:42.830" v="3" actId="47"/>
        <pc:sldMkLst>
          <pc:docMk/>
          <pc:sldMk cId="2400759442" sldId="2147482800"/>
        </pc:sldMkLst>
      </pc:sldChg>
      <pc:sldChg chg="del">
        <pc:chgData name="Oka, Dr. Dennis Kengo (JP)" userId="aeb014c5-2f18-4035-80ba-4d519a44d38a" providerId="ADAL" clId="{92C215DD-2F26-4BD6-8294-13FBB0A2F8A7}" dt="2025-05-14T18:42:20.829" v="14" actId="47"/>
        <pc:sldMkLst>
          <pc:docMk/>
          <pc:sldMk cId="802530175" sldId="2147482801"/>
        </pc:sldMkLst>
      </pc:sldChg>
      <pc:sldChg chg="del">
        <pc:chgData name="Oka, Dr. Dennis Kengo (JP)" userId="aeb014c5-2f18-4035-80ba-4d519a44d38a" providerId="ADAL" clId="{92C215DD-2F26-4BD6-8294-13FBB0A2F8A7}" dt="2025-05-14T18:41:36.240" v="12" actId="47"/>
        <pc:sldMkLst>
          <pc:docMk/>
          <pc:sldMk cId="3291569219" sldId="2147482802"/>
        </pc:sldMkLst>
      </pc:sldChg>
      <pc:sldChg chg="modNotesTx">
        <pc:chgData name="Oka, Dr. Dennis Kengo (JP)" userId="aeb014c5-2f18-4035-80ba-4d519a44d38a" providerId="ADAL" clId="{92C215DD-2F26-4BD6-8294-13FBB0A2F8A7}" dt="2025-05-15T15:24:34.901" v="85" actId="20577"/>
        <pc:sldMkLst>
          <pc:docMk/>
          <pc:sldMk cId="1911200297" sldId="2147482805"/>
        </pc:sldMkLst>
      </pc:sldChg>
      <pc:sldChg chg="modNotesTx">
        <pc:chgData name="Oka, Dr. Dennis Kengo (JP)" userId="aeb014c5-2f18-4035-80ba-4d519a44d38a" providerId="ADAL" clId="{92C215DD-2F26-4BD6-8294-13FBB0A2F8A7}" dt="2025-05-15T15:32:59.681" v="109" actId="20577"/>
        <pc:sldMkLst>
          <pc:docMk/>
          <pc:sldMk cId="1967759998" sldId="2147482806"/>
        </pc:sldMkLst>
      </pc:sldChg>
      <pc:sldChg chg="modNotesTx">
        <pc:chgData name="Oka, Dr. Dennis Kengo (JP)" userId="aeb014c5-2f18-4035-80ba-4d519a44d38a" providerId="ADAL" clId="{92C215DD-2F26-4BD6-8294-13FBB0A2F8A7}" dt="2025-05-15T15:40:39.146" v="154" actId="20577"/>
        <pc:sldMkLst>
          <pc:docMk/>
          <pc:sldMk cId="3563426801" sldId="2147482816"/>
        </pc:sldMkLst>
      </pc:sldChg>
      <pc:sldChg chg="modNotesTx">
        <pc:chgData name="Oka, Dr. Dennis Kengo (JP)" userId="aeb014c5-2f18-4035-80ba-4d519a44d38a" providerId="ADAL" clId="{92C215DD-2F26-4BD6-8294-13FBB0A2F8A7}" dt="2025-05-14T18:45:58.499" v="34" actId="20577"/>
        <pc:sldMkLst>
          <pc:docMk/>
          <pc:sldMk cId="1176644387" sldId="2147482819"/>
        </pc:sldMkLst>
      </pc:sldChg>
      <pc:sldChg chg="modNotesTx">
        <pc:chgData name="Oka, Dr. Dennis Kengo (JP)" userId="aeb014c5-2f18-4035-80ba-4d519a44d38a" providerId="ADAL" clId="{92C215DD-2F26-4BD6-8294-13FBB0A2F8A7}" dt="2025-05-15T15:42:39.041" v="162" actId="20577"/>
        <pc:sldMkLst>
          <pc:docMk/>
          <pc:sldMk cId="3377770029" sldId="2147482825"/>
        </pc:sldMkLst>
      </pc:sldChg>
      <pc:sldChg chg="modNotesTx">
        <pc:chgData name="Oka, Dr. Dennis Kengo (JP)" userId="aeb014c5-2f18-4035-80ba-4d519a44d38a" providerId="ADAL" clId="{92C215DD-2F26-4BD6-8294-13FBB0A2F8A7}" dt="2025-05-15T15:15:40.891" v="46" actId="20577"/>
        <pc:sldMkLst>
          <pc:docMk/>
          <pc:sldMk cId="2290823227" sldId="2147482826"/>
        </pc:sldMkLst>
      </pc:sldChg>
      <pc:sldChg chg="modNotesTx">
        <pc:chgData name="Oka, Dr. Dennis Kengo (JP)" userId="aeb014c5-2f18-4035-80ba-4d519a44d38a" providerId="ADAL" clId="{92C215DD-2F26-4BD6-8294-13FBB0A2F8A7}" dt="2025-05-15T15:39:00.742" v="145" actId="20577"/>
        <pc:sldMkLst>
          <pc:docMk/>
          <pc:sldMk cId="2589387682" sldId="2147482829"/>
        </pc:sldMkLst>
      </pc:sldChg>
      <pc:sldChg chg="modSp mod modNotesTx">
        <pc:chgData name="Oka, Dr. Dennis Kengo (JP)" userId="aeb014c5-2f18-4035-80ba-4d519a44d38a" providerId="ADAL" clId="{92C215DD-2F26-4BD6-8294-13FBB0A2F8A7}" dt="2025-05-15T15:43:43.760" v="167" actId="20577"/>
        <pc:sldMkLst>
          <pc:docMk/>
          <pc:sldMk cId="1027660809" sldId="2147482831"/>
        </pc:sldMkLst>
        <pc:spChg chg="mod">
          <ac:chgData name="Oka, Dr. Dennis Kengo (JP)" userId="aeb014c5-2f18-4035-80ba-4d519a44d38a" providerId="ADAL" clId="{92C215DD-2F26-4BD6-8294-13FBB0A2F8A7}" dt="2025-05-14T18:44:34.301" v="32" actId="20577"/>
          <ac:spMkLst>
            <pc:docMk/>
            <pc:sldMk cId="1027660809" sldId="2147482831"/>
            <ac:spMk id="5" creationId="{724D9F25-3AA6-E202-C0A6-275DE7A1FA65}"/>
          </ac:spMkLst>
        </pc:spChg>
      </pc:sldChg>
      <pc:sldChg chg="modNotesTx">
        <pc:chgData name="Oka, Dr. Dennis Kengo (JP)" userId="aeb014c5-2f18-4035-80ba-4d519a44d38a" providerId="ADAL" clId="{92C215DD-2F26-4BD6-8294-13FBB0A2F8A7}" dt="2025-05-15T15:24:37.664" v="90" actId="20577"/>
        <pc:sldMkLst>
          <pc:docMk/>
          <pc:sldMk cId="511309730" sldId="2147482832"/>
        </pc:sldMkLst>
      </pc:sldChg>
      <pc:sldChg chg="add modNotesTx">
        <pc:chgData name="Oka, Dr. Dennis Kengo (JP)" userId="aeb014c5-2f18-4035-80ba-4d519a44d38a" providerId="ADAL" clId="{92C215DD-2F26-4BD6-8294-13FBB0A2F8A7}" dt="2025-05-15T15:20:53.751" v="60" actId="20577"/>
        <pc:sldMkLst>
          <pc:docMk/>
          <pc:sldMk cId="1846052887" sldId="2147482833"/>
        </pc:sldMkLst>
      </pc:sldChg>
      <pc:sldChg chg="add modNotesTx">
        <pc:chgData name="Oka, Dr. Dennis Kengo (JP)" userId="aeb014c5-2f18-4035-80ba-4d519a44d38a" providerId="ADAL" clId="{92C215DD-2F26-4BD6-8294-13FBB0A2F8A7}" dt="2025-05-15T15:22:49.726" v="80" actId="20577"/>
        <pc:sldMkLst>
          <pc:docMk/>
          <pc:sldMk cId="1849794710" sldId="2147482834"/>
        </pc:sldMkLst>
      </pc:sldChg>
      <pc:sldChg chg="add modNotesTx">
        <pc:chgData name="Oka, Dr. Dennis Kengo (JP)" userId="aeb014c5-2f18-4035-80ba-4d519a44d38a" providerId="ADAL" clId="{92C215DD-2F26-4BD6-8294-13FBB0A2F8A7}" dt="2025-05-15T15:30:19.591" v="98" actId="6549"/>
        <pc:sldMkLst>
          <pc:docMk/>
          <pc:sldMk cId="3096862357" sldId="2147482835"/>
        </pc:sldMkLst>
      </pc:sldChg>
      <pc:sldChg chg="add modNotesTx">
        <pc:chgData name="Oka, Dr. Dennis Kengo (JP)" userId="aeb014c5-2f18-4035-80ba-4d519a44d38a" providerId="ADAL" clId="{92C215DD-2F26-4BD6-8294-13FBB0A2F8A7}" dt="2025-05-15T15:30:24.333" v="102" actId="20577"/>
        <pc:sldMkLst>
          <pc:docMk/>
          <pc:sldMk cId="3712789392" sldId="2147482836"/>
        </pc:sldMkLst>
      </pc:sldChg>
      <pc:sldChg chg="add modNotesTx">
        <pc:chgData name="Oka, Dr. Dennis Kengo (JP)" userId="aeb014c5-2f18-4035-80ba-4d519a44d38a" providerId="ADAL" clId="{92C215DD-2F26-4BD6-8294-13FBB0A2F8A7}" dt="2025-05-15T15:34:12.085" v="117" actId="20577"/>
        <pc:sldMkLst>
          <pc:docMk/>
          <pc:sldMk cId="2924691014" sldId="2147482837"/>
        </pc:sldMkLst>
      </pc:sldChg>
    </pc:docChg>
  </pc:docChgLst>
  <pc:docChgLst>
    <pc:chgData name="Oka, Dr. Dennis Kengo (JP)" userId="aeb014c5-2f18-4035-80ba-4d519a44d38a" providerId="ADAL" clId="{6A2BE59C-F9D9-4F80-9A53-F40DA7312C17}"/>
    <pc:docChg chg="custSel addSld delSld modSld sldOrd addSection delSection modSection">
      <pc:chgData name="Oka, Dr. Dennis Kengo (JP)" userId="aeb014c5-2f18-4035-80ba-4d519a44d38a" providerId="ADAL" clId="{6A2BE59C-F9D9-4F80-9A53-F40DA7312C17}" dt="2025-05-20T03:15:17.274" v="226" actId="1076"/>
      <pc:docMkLst>
        <pc:docMk/>
      </pc:docMkLst>
      <pc:sldChg chg="modSp mod">
        <pc:chgData name="Oka, Dr. Dennis Kengo (JP)" userId="aeb014c5-2f18-4035-80ba-4d519a44d38a" providerId="ADAL" clId="{6A2BE59C-F9D9-4F80-9A53-F40DA7312C17}" dt="2025-05-19T06:53:45.904" v="44" actId="20577"/>
        <pc:sldMkLst>
          <pc:docMk/>
          <pc:sldMk cId="639914504" sldId="573"/>
        </pc:sldMkLst>
        <pc:spChg chg="mod">
          <ac:chgData name="Oka, Dr. Dennis Kengo (JP)" userId="aeb014c5-2f18-4035-80ba-4d519a44d38a" providerId="ADAL" clId="{6A2BE59C-F9D9-4F80-9A53-F40DA7312C17}" dt="2025-05-19T06:53:45.904" v="44" actId="20577"/>
          <ac:spMkLst>
            <pc:docMk/>
            <pc:sldMk cId="639914504" sldId="573"/>
            <ac:spMk id="48" creationId="{9DF01F17-F9D2-470C-98BE-243CD5ED053D}"/>
          </ac:spMkLst>
        </pc:spChg>
      </pc:sldChg>
      <pc:sldChg chg="del">
        <pc:chgData name="Oka, Dr. Dennis Kengo (JP)" userId="aeb014c5-2f18-4035-80ba-4d519a44d38a" providerId="ADAL" clId="{6A2BE59C-F9D9-4F80-9A53-F40DA7312C17}" dt="2025-05-19T08:47:11.776" v="112" actId="47"/>
        <pc:sldMkLst>
          <pc:docMk/>
          <pc:sldMk cId="2394702158" sldId="628"/>
        </pc:sldMkLst>
      </pc:sldChg>
      <pc:sldChg chg="del">
        <pc:chgData name="Oka, Dr. Dennis Kengo (JP)" userId="aeb014c5-2f18-4035-80ba-4d519a44d38a" providerId="ADAL" clId="{6A2BE59C-F9D9-4F80-9A53-F40DA7312C17}" dt="2025-05-19T08:47:11.776" v="112" actId="47"/>
        <pc:sldMkLst>
          <pc:docMk/>
          <pc:sldMk cId="662665077" sldId="2134808588"/>
        </pc:sldMkLst>
      </pc:sldChg>
      <pc:sldChg chg="del">
        <pc:chgData name="Oka, Dr. Dennis Kengo (JP)" userId="aeb014c5-2f18-4035-80ba-4d519a44d38a" providerId="ADAL" clId="{6A2BE59C-F9D9-4F80-9A53-F40DA7312C17}" dt="2025-05-19T08:47:11.776" v="112" actId="47"/>
        <pc:sldMkLst>
          <pc:docMk/>
          <pc:sldMk cId="761531386" sldId="2134808589"/>
        </pc:sldMkLst>
      </pc:sldChg>
      <pc:sldChg chg="add ord">
        <pc:chgData name="Oka, Dr. Dennis Kengo (JP)" userId="aeb014c5-2f18-4035-80ba-4d519a44d38a" providerId="ADAL" clId="{6A2BE59C-F9D9-4F80-9A53-F40DA7312C17}" dt="2025-05-19T06:55:38.893" v="109"/>
        <pc:sldMkLst>
          <pc:docMk/>
          <pc:sldMk cId="3551687455" sldId="2144327900"/>
        </pc:sldMkLst>
      </pc:sldChg>
      <pc:sldChg chg="del">
        <pc:chgData name="Oka, Dr. Dennis Kengo (JP)" userId="aeb014c5-2f18-4035-80ba-4d519a44d38a" providerId="ADAL" clId="{6A2BE59C-F9D9-4F80-9A53-F40DA7312C17}" dt="2025-05-19T08:47:11.776" v="112" actId="47"/>
        <pc:sldMkLst>
          <pc:docMk/>
          <pc:sldMk cId="2261126552" sldId="2147477822"/>
        </pc:sldMkLst>
      </pc:sldChg>
      <pc:sldChg chg="modSp">
        <pc:chgData name="Oka, Dr. Dennis Kengo (JP)" userId="aeb014c5-2f18-4035-80ba-4d519a44d38a" providerId="ADAL" clId="{6A2BE59C-F9D9-4F80-9A53-F40DA7312C17}" dt="2025-05-19T06:55:09.816" v="104" actId="20577"/>
        <pc:sldMkLst>
          <pc:docMk/>
          <pc:sldMk cId="1509253937" sldId="2147482793"/>
        </pc:sldMkLst>
        <pc:graphicFrameChg chg="mod">
          <ac:chgData name="Oka, Dr. Dennis Kengo (JP)" userId="aeb014c5-2f18-4035-80ba-4d519a44d38a" providerId="ADAL" clId="{6A2BE59C-F9D9-4F80-9A53-F40DA7312C17}" dt="2025-05-19T06:55:09.816" v="104" actId="20577"/>
          <ac:graphicFrameMkLst>
            <pc:docMk/>
            <pc:sldMk cId="1509253937" sldId="2147482793"/>
            <ac:graphicFrameMk id="5" creationId="{0223F6E1-9A19-1AD4-E23A-F4AD49E1E58E}"/>
          </ac:graphicFrameMkLst>
        </pc:graphicFrameChg>
      </pc:sldChg>
      <pc:sldChg chg="del">
        <pc:chgData name="Oka, Dr. Dennis Kengo (JP)" userId="aeb014c5-2f18-4035-80ba-4d519a44d38a" providerId="ADAL" clId="{6A2BE59C-F9D9-4F80-9A53-F40DA7312C17}" dt="2025-05-19T08:48:12.042" v="116" actId="47"/>
        <pc:sldMkLst>
          <pc:docMk/>
          <pc:sldMk cId="1512448600" sldId="2147482798"/>
        </pc:sldMkLst>
      </pc:sldChg>
      <pc:sldChg chg="del">
        <pc:chgData name="Oka, Dr. Dennis Kengo (JP)" userId="aeb014c5-2f18-4035-80ba-4d519a44d38a" providerId="ADAL" clId="{6A2BE59C-F9D9-4F80-9A53-F40DA7312C17}" dt="2025-05-19T08:48:12.042" v="116" actId="47"/>
        <pc:sldMkLst>
          <pc:docMk/>
          <pc:sldMk cId="1911200297" sldId="2147482805"/>
        </pc:sldMkLst>
      </pc:sldChg>
      <pc:sldChg chg="del">
        <pc:chgData name="Oka, Dr. Dennis Kengo (JP)" userId="aeb014c5-2f18-4035-80ba-4d519a44d38a" providerId="ADAL" clId="{6A2BE59C-F9D9-4F80-9A53-F40DA7312C17}" dt="2025-05-19T08:47:11.776" v="112" actId="47"/>
        <pc:sldMkLst>
          <pc:docMk/>
          <pc:sldMk cId="1967759998" sldId="2147482806"/>
        </pc:sldMkLst>
      </pc:sldChg>
      <pc:sldChg chg="modSp add mod">
        <pc:chgData name="Oka, Dr. Dennis Kengo (JP)" userId="aeb014c5-2f18-4035-80ba-4d519a44d38a" providerId="ADAL" clId="{6A2BE59C-F9D9-4F80-9A53-F40DA7312C17}" dt="2025-05-20T03:15:17.274" v="226" actId="1076"/>
        <pc:sldMkLst>
          <pc:docMk/>
          <pc:sldMk cId="565694939" sldId="2147482807"/>
        </pc:sldMkLst>
        <pc:spChg chg="mod">
          <ac:chgData name="Oka, Dr. Dennis Kengo (JP)" userId="aeb014c5-2f18-4035-80ba-4d519a44d38a" providerId="ADAL" clId="{6A2BE59C-F9D9-4F80-9A53-F40DA7312C17}" dt="2025-05-20T03:15:17.274" v="226" actId="1076"/>
          <ac:spMkLst>
            <pc:docMk/>
            <pc:sldMk cId="565694939" sldId="2147482807"/>
            <ac:spMk id="2" creationId="{EAF33DD4-5DB6-1699-EEFD-97A6E1742AD9}"/>
          </ac:spMkLst>
        </pc:spChg>
      </pc:sldChg>
      <pc:sldChg chg="add">
        <pc:chgData name="Oka, Dr. Dennis Kengo (JP)" userId="aeb014c5-2f18-4035-80ba-4d519a44d38a" providerId="ADAL" clId="{6A2BE59C-F9D9-4F80-9A53-F40DA7312C17}" dt="2025-05-19T06:55:54.964" v="111"/>
        <pc:sldMkLst>
          <pc:docMk/>
          <pc:sldMk cId="2127656867" sldId="2147482808"/>
        </pc:sldMkLst>
      </pc:sldChg>
      <pc:sldChg chg="add del">
        <pc:chgData name="Oka, Dr. Dennis Kengo (JP)" userId="aeb014c5-2f18-4035-80ba-4d519a44d38a" providerId="ADAL" clId="{6A2BE59C-F9D9-4F80-9A53-F40DA7312C17}" dt="2025-05-19T06:55:52.337" v="110" actId="2696"/>
        <pc:sldMkLst>
          <pc:docMk/>
          <pc:sldMk cId="2539883811" sldId="2147482808"/>
        </pc:sldMkLst>
      </pc:sldChg>
      <pc:sldChg chg="del">
        <pc:chgData name="Oka, Dr. Dennis Kengo (JP)" userId="aeb014c5-2f18-4035-80ba-4d519a44d38a" providerId="ADAL" clId="{6A2BE59C-F9D9-4F80-9A53-F40DA7312C17}" dt="2025-05-19T08:47:11.776" v="112" actId="47"/>
        <pc:sldMkLst>
          <pc:docMk/>
          <pc:sldMk cId="3563426801" sldId="2147482816"/>
        </pc:sldMkLst>
      </pc:sldChg>
      <pc:sldChg chg="add">
        <pc:chgData name="Oka, Dr. Dennis Kengo (JP)" userId="aeb014c5-2f18-4035-80ba-4d519a44d38a" providerId="ADAL" clId="{6A2BE59C-F9D9-4F80-9A53-F40DA7312C17}" dt="2025-05-19T06:55:54.964" v="111"/>
        <pc:sldMkLst>
          <pc:docMk/>
          <pc:sldMk cId="971620359" sldId="2147482817"/>
        </pc:sldMkLst>
      </pc:sldChg>
      <pc:sldChg chg="add del">
        <pc:chgData name="Oka, Dr. Dennis Kengo (JP)" userId="aeb014c5-2f18-4035-80ba-4d519a44d38a" providerId="ADAL" clId="{6A2BE59C-F9D9-4F80-9A53-F40DA7312C17}" dt="2025-05-19T06:55:52.337" v="110" actId="2696"/>
        <pc:sldMkLst>
          <pc:docMk/>
          <pc:sldMk cId="1372980880" sldId="2147482817"/>
        </pc:sldMkLst>
      </pc:sldChg>
      <pc:sldChg chg="del">
        <pc:chgData name="Oka, Dr. Dennis Kengo (JP)" userId="aeb014c5-2f18-4035-80ba-4d519a44d38a" providerId="ADAL" clId="{6A2BE59C-F9D9-4F80-9A53-F40DA7312C17}" dt="2025-05-19T08:47:11.776" v="112" actId="47"/>
        <pc:sldMkLst>
          <pc:docMk/>
          <pc:sldMk cId="3377770029" sldId="2147482825"/>
        </pc:sldMkLst>
      </pc:sldChg>
      <pc:sldChg chg="del">
        <pc:chgData name="Oka, Dr. Dennis Kengo (JP)" userId="aeb014c5-2f18-4035-80ba-4d519a44d38a" providerId="ADAL" clId="{6A2BE59C-F9D9-4F80-9A53-F40DA7312C17}" dt="2025-05-19T08:47:11.776" v="112" actId="47"/>
        <pc:sldMkLst>
          <pc:docMk/>
          <pc:sldMk cId="3608856435" sldId="2147482828"/>
        </pc:sldMkLst>
      </pc:sldChg>
      <pc:sldChg chg="del">
        <pc:chgData name="Oka, Dr. Dennis Kengo (JP)" userId="aeb014c5-2f18-4035-80ba-4d519a44d38a" providerId="ADAL" clId="{6A2BE59C-F9D9-4F80-9A53-F40DA7312C17}" dt="2025-05-19T08:47:11.776" v="112" actId="47"/>
        <pc:sldMkLst>
          <pc:docMk/>
          <pc:sldMk cId="2589387682" sldId="2147482829"/>
        </pc:sldMkLst>
      </pc:sldChg>
      <pc:sldChg chg="del">
        <pc:chgData name="Oka, Dr. Dennis Kengo (JP)" userId="aeb014c5-2f18-4035-80ba-4d519a44d38a" providerId="ADAL" clId="{6A2BE59C-F9D9-4F80-9A53-F40DA7312C17}" dt="2025-05-19T06:55:18.214" v="106" actId="47"/>
        <pc:sldMkLst>
          <pc:docMk/>
          <pc:sldMk cId="1729448853" sldId="2147482830"/>
        </pc:sldMkLst>
      </pc:sldChg>
      <pc:sldChg chg="del">
        <pc:chgData name="Oka, Dr. Dennis Kengo (JP)" userId="aeb014c5-2f18-4035-80ba-4d519a44d38a" providerId="ADAL" clId="{6A2BE59C-F9D9-4F80-9A53-F40DA7312C17}" dt="2025-05-19T08:48:12.042" v="116" actId="47"/>
        <pc:sldMkLst>
          <pc:docMk/>
          <pc:sldMk cId="511309730" sldId="2147482832"/>
        </pc:sldMkLst>
      </pc:sldChg>
      <pc:sldChg chg="del">
        <pc:chgData name="Oka, Dr. Dennis Kengo (JP)" userId="aeb014c5-2f18-4035-80ba-4d519a44d38a" providerId="ADAL" clId="{6A2BE59C-F9D9-4F80-9A53-F40DA7312C17}" dt="2025-05-19T08:48:12.042" v="116" actId="47"/>
        <pc:sldMkLst>
          <pc:docMk/>
          <pc:sldMk cId="3096862357" sldId="2147482835"/>
        </pc:sldMkLst>
      </pc:sldChg>
      <pc:sldChg chg="ord">
        <pc:chgData name="Oka, Dr. Dennis Kengo (JP)" userId="aeb014c5-2f18-4035-80ba-4d519a44d38a" providerId="ADAL" clId="{6A2BE59C-F9D9-4F80-9A53-F40DA7312C17}" dt="2025-05-19T08:47:50.347" v="115"/>
        <pc:sldMkLst>
          <pc:docMk/>
          <pc:sldMk cId="3712789392" sldId="2147482836"/>
        </pc:sldMkLst>
      </pc:sldChg>
      <pc:sldChg chg="del">
        <pc:chgData name="Oka, Dr. Dennis Kengo (JP)" userId="aeb014c5-2f18-4035-80ba-4d519a44d38a" providerId="ADAL" clId="{6A2BE59C-F9D9-4F80-9A53-F40DA7312C17}" dt="2025-05-19T08:47:11.776" v="112" actId="47"/>
        <pc:sldMkLst>
          <pc:docMk/>
          <pc:sldMk cId="2924691014" sldId="2147482837"/>
        </pc:sldMkLst>
      </pc:sldChg>
      <pc:sldChg chg="add">
        <pc:chgData name="Oka, Dr. Dennis Kengo (JP)" userId="aeb014c5-2f18-4035-80ba-4d519a44d38a" providerId="ADAL" clId="{6A2BE59C-F9D9-4F80-9A53-F40DA7312C17}" dt="2025-05-19T05:52:06.147" v="2"/>
        <pc:sldMkLst>
          <pc:docMk/>
          <pc:sldMk cId="471766369" sldId="2147482838"/>
        </pc:sldMkLst>
      </pc:sldChg>
      <pc:sldChg chg="add mod modShow">
        <pc:chgData name="Oka, Dr. Dennis Kengo (JP)" userId="aeb014c5-2f18-4035-80ba-4d519a44d38a" providerId="ADAL" clId="{6A2BE59C-F9D9-4F80-9A53-F40DA7312C17}" dt="2025-05-20T01:44:41.195" v="185" actId="729"/>
        <pc:sldMkLst>
          <pc:docMk/>
          <pc:sldMk cId="2792073922" sldId="2147482839"/>
        </pc:sldMkLst>
      </pc:sldChg>
      <pc:sldChg chg="modSp add mod">
        <pc:chgData name="Oka, Dr. Dennis Kengo (JP)" userId="aeb014c5-2f18-4035-80ba-4d519a44d38a" providerId="ADAL" clId="{6A2BE59C-F9D9-4F80-9A53-F40DA7312C17}" dt="2025-05-19T06:55:30.309" v="107" actId="207"/>
        <pc:sldMkLst>
          <pc:docMk/>
          <pc:sldMk cId="1434685953" sldId="2147482840"/>
        </pc:sldMkLst>
        <pc:graphicFrameChg chg="modGraphic">
          <ac:chgData name="Oka, Dr. Dennis Kengo (JP)" userId="aeb014c5-2f18-4035-80ba-4d519a44d38a" providerId="ADAL" clId="{6A2BE59C-F9D9-4F80-9A53-F40DA7312C17}" dt="2025-05-19T06:55:30.309" v="107" actId="207"/>
          <ac:graphicFrameMkLst>
            <pc:docMk/>
            <pc:sldMk cId="1434685953" sldId="2147482840"/>
            <ac:graphicFrameMk id="5" creationId="{308ADF5E-F111-E2CC-A3B7-D78DED63B97F}"/>
          </ac:graphicFrameMkLst>
        </pc:graphicFrameChg>
      </pc:sldChg>
      <pc:sldChg chg="modSp new mod modNotesTx">
        <pc:chgData name="Oka, Dr. Dennis Kengo (JP)" userId="aeb014c5-2f18-4035-80ba-4d519a44d38a" providerId="ADAL" clId="{6A2BE59C-F9D9-4F80-9A53-F40DA7312C17}" dt="2025-05-20T02:07:37.989" v="205" actId="20577"/>
        <pc:sldMkLst>
          <pc:docMk/>
          <pc:sldMk cId="4133341193" sldId="2147482841"/>
        </pc:sldMkLst>
        <pc:spChg chg="mod">
          <ac:chgData name="Oka, Dr. Dennis Kengo (JP)" userId="aeb014c5-2f18-4035-80ba-4d519a44d38a" providerId="ADAL" clId="{6A2BE59C-F9D9-4F80-9A53-F40DA7312C17}" dt="2025-05-20T01:40:35.497" v="184" actId="20577"/>
          <ac:spMkLst>
            <pc:docMk/>
            <pc:sldMk cId="4133341193" sldId="2147482841"/>
            <ac:spMk id="2" creationId="{46527D15-6753-6FDA-1B68-51C9319D5E66}"/>
          </ac:spMkLst>
        </pc:spChg>
      </pc:sldChg>
      <pc:sldChg chg="modSp new mod">
        <pc:chgData name="Oka, Dr. Dennis Kengo (JP)" userId="aeb014c5-2f18-4035-80ba-4d519a44d38a" providerId="ADAL" clId="{6A2BE59C-F9D9-4F80-9A53-F40DA7312C17}" dt="2025-05-20T01:44:52.577" v="194" actId="20577"/>
        <pc:sldMkLst>
          <pc:docMk/>
          <pc:sldMk cId="2650915617" sldId="2147482842"/>
        </pc:sldMkLst>
        <pc:spChg chg="mod">
          <ac:chgData name="Oka, Dr. Dennis Kengo (JP)" userId="aeb014c5-2f18-4035-80ba-4d519a44d38a" providerId="ADAL" clId="{6A2BE59C-F9D9-4F80-9A53-F40DA7312C17}" dt="2025-05-20T01:44:52.577" v="194" actId="20577"/>
          <ac:spMkLst>
            <pc:docMk/>
            <pc:sldMk cId="2650915617" sldId="2147482842"/>
            <ac:spMk id="2" creationId="{6F1F25B7-09B7-1879-7362-EFA4813BF8AB}"/>
          </ac:spMkLst>
        </pc:spChg>
      </pc:sldChg>
      <pc:sldChg chg="add">
        <pc:chgData name="Oka, Dr. Dennis Kengo (JP)" userId="aeb014c5-2f18-4035-80ba-4d519a44d38a" providerId="ADAL" clId="{6A2BE59C-F9D9-4F80-9A53-F40DA7312C17}" dt="2025-05-20T01:40:11.356" v="154"/>
        <pc:sldMkLst>
          <pc:docMk/>
          <pc:sldMk cId="192116302" sldId="2147482843"/>
        </pc:sldMkLst>
      </pc:sldChg>
      <pc:sldChg chg="modSp add mod">
        <pc:chgData name="Oka, Dr. Dennis Kengo (JP)" userId="aeb014c5-2f18-4035-80ba-4d519a44d38a" providerId="ADAL" clId="{6A2BE59C-F9D9-4F80-9A53-F40DA7312C17}" dt="2025-05-20T01:40:22.051" v="178" actId="20577"/>
        <pc:sldMkLst>
          <pc:docMk/>
          <pc:sldMk cId="1583984836" sldId="2147482844"/>
        </pc:sldMkLst>
        <pc:spChg chg="mod">
          <ac:chgData name="Oka, Dr. Dennis Kengo (JP)" userId="aeb014c5-2f18-4035-80ba-4d519a44d38a" providerId="ADAL" clId="{6A2BE59C-F9D9-4F80-9A53-F40DA7312C17}" dt="2025-05-20T01:40:22.051" v="178" actId="20577"/>
          <ac:spMkLst>
            <pc:docMk/>
            <pc:sldMk cId="1583984836" sldId="2147482844"/>
            <ac:spMk id="2" creationId="{654B7D1B-EF81-51A4-5E25-556251436069}"/>
          </ac:spMkLst>
        </pc:spChg>
      </pc:sldChg>
      <pc:sldChg chg="modSp new mod">
        <pc:chgData name="Oka, Dr. Dennis Kengo (JP)" userId="aeb014c5-2f18-4035-80ba-4d519a44d38a" providerId="ADAL" clId="{6A2BE59C-F9D9-4F80-9A53-F40DA7312C17}" dt="2025-05-20T03:12:13.636" v="225" actId="20577"/>
        <pc:sldMkLst>
          <pc:docMk/>
          <pc:sldMk cId="136886804" sldId="2147482845"/>
        </pc:sldMkLst>
        <pc:spChg chg="mod">
          <ac:chgData name="Oka, Dr. Dennis Kengo (JP)" userId="aeb014c5-2f18-4035-80ba-4d519a44d38a" providerId="ADAL" clId="{6A2BE59C-F9D9-4F80-9A53-F40DA7312C17}" dt="2025-05-20T03:12:13.636" v="225" actId="20577"/>
          <ac:spMkLst>
            <pc:docMk/>
            <pc:sldMk cId="136886804" sldId="2147482845"/>
            <ac:spMk id="2" creationId="{899700D4-C2EC-16AB-8A90-AB7ACF25CFED}"/>
          </ac:spMkLst>
        </pc:spChg>
      </pc:sldChg>
    </pc:docChg>
  </pc:docChgLst>
  <pc:docChgLst>
    <pc:chgData name="Oka, Dr. Dennis Kengo (JP)" userId="aeb014c5-2f18-4035-80ba-4d519a44d38a" providerId="ADAL" clId="{20624EAE-7A54-4C0E-8E32-F1D45109832B}"/>
    <pc:docChg chg="undo custSel addSld delSld modSld sldOrd modMainMaster addSection modSection">
      <pc:chgData name="Oka, Dr. Dennis Kengo (JP)" userId="aeb014c5-2f18-4035-80ba-4d519a44d38a" providerId="ADAL" clId="{20624EAE-7A54-4C0E-8E32-F1D45109832B}" dt="2025-05-14T09:25:04.811" v="8057" actId="47"/>
      <pc:docMkLst>
        <pc:docMk/>
      </pc:docMkLst>
      <pc:sldChg chg="add del mod modShow">
        <pc:chgData name="Oka, Dr. Dennis Kengo (JP)" userId="aeb014c5-2f18-4035-80ba-4d519a44d38a" providerId="ADAL" clId="{20624EAE-7A54-4C0E-8E32-F1D45109832B}" dt="2025-05-13T05:55:22.921" v="2587" actId="47"/>
        <pc:sldMkLst>
          <pc:docMk/>
          <pc:sldMk cId="3523664525" sldId="262"/>
        </pc:sldMkLst>
      </pc:sldChg>
      <pc:sldChg chg="del ord">
        <pc:chgData name="Oka, Dr. Dennis Kengo (JP)" userId="aeb014c5-2f18-4035-80ba-4d519a44d38a" providerId="ADAL" clId="{20624EAE-7A54-4C0E-8E32-F1D45109832B}" dt="2025-05-14T09:25:04.811" v="8057" actId="47"/>
        <pc:sldMkLst>
          <pc:docMk/>
          <pc:sldMk cId="3734894897" sldId="284"/>
        </pc:sldMkLst>
      </pc:sldChg>
      <pc:sldChg chg="add del mod modShow">
        <pc:chgData name="Oka, Dr. Dennis Kengo (JP)" userId="aeb014c5-2f18-4035-80ba-4d519a44d38a" providerId="ADAL" clId="{20624EAE-7A54-4C0E-8E32-F1D45109832B}" dt="2025-05-13T05:55:24.165" v="2588" actId="47"/>
        <pc:sldMkLst>
          <pc:docMk/>
          <pc:sldMk cId="3269784884" sldId="292"/>
        </pc:sldMkLst>
      </pc:sldChg>
      <pc:sldChg chg="add del mod modShow">
        <pc:chgData name="Oka, Dr. Dennis Kengo (JP)" userId="aeb014c5-2f18-4035-80ba-4d519a44d38a" providerId="ADAL" clId="{20624EAE-7A54-4C0E-8E32-F1D45109832B}" dt="2025-05-13T08:07:51.302" v="2824" actId="47"/>
        <pc:sldMkLst>
          <pc:docMk/>
          <pc:sldMk cId="3427003517" sldId="294"/>
        </pc:sldMkLst>
      </pc:sldChg>
      <pc:sldChg chg="add del">
        <pc:chgData name="Oka, Dr. Dennis Kengo (JP)" userId="aeb014c5-2f18-4035-80ba-4d519a44d38a" providerId="ADAL" clId="{20624EAE-7A54-4C0E-8E32-F1D45109832B}" dt="2025-04-23T05:38:29.349" v="613" actId="2696"/>
        <pc:sldMkLst>
          <pc:docMk/>
          <pc:sldMk cId="3040473061" sldId="298"/>
        </pc:sldMkLst>
      </pc:sldChg>
      <pc:sldChg chg="add del">
        <pc:chgData name="Oka, Dr. Dennis Kengo (JP)" userId="aeb014c5-2f18-4035-80ba-4d519a44d38a" providerId="ADAL" clId="{20624EAE-7A54-4C0E-8E32-F1D45109832B}" dt="2025-04-23T05:38:05.604" v="192" actId="2696"/>
        <pc:sldMkLst>
          <pc:docMk/>
          <pc:sldMk cId="3541799705" sldId="298"/>
        </pc:sldMkLst>
      </pc:sldChg>
      <pc:sldChg chg="add del mod modShow">
        <pc:chgData name="Oka, Dr. Dennis Kengo (JP)" userId="aeb014c5-2f18-4035-80ba-4d519a44d38a" providerId="ADAL" clId="{20624EAE-7A54-4C0E-8E32-F1D45109832B}" dt="2025-05-13T08:16:34.510" v="3059" actId="47"/>
        <pc:sldMkLst>
          <pc:docMk/>
          <pc:sldMk cId="3181779597" sldId="330"/>
        </pc:sldMkLst>
      </pc:sldChg>
      <pc:sldChg chg="add del ord">
        <pc:chgData name="Oka, Dr. Dennis Kengo (JP)" userId="aeb014c5-2f18-4035-80ba-4d519a44d38a" providerId="ADAL" clId="{20624EAE-7A54-4C0E-8E32-F1D45109832B}" dt="2025-05-02T04:18:30.563" v="1598" actId="47"/>
        <pc:sldMkLst>
          <pc:docMk/>
          <pc:sldMk cId="386161500" sldId="337"/>
        </pc:sldMkLst>
      </pc:sldChg>
      <pc:sldChg chg="add del mod modShow">
        <pc:chgData name="Oka, Dr. Dennis Kengo (JP)" userId="aeb014c5-2f18-4035-80ba-4d519a44d38a" providerId="ADAL" clId="{20624EAE-7A54-4C0E-8E32-F1D45109832B}" dt="2025-05-13T08:06:03.447" v="2813" actId="47"/>
        <pc:sldMkLst>
          <pc:docMk/>
          <pc:sldMk cId="4252257891" sldId="345"/>
        </pc:sldMkLst>
      </pc:sldChg>
      <pc:sldChg chg="del ord">
        <pc:chgData name="Oka, Dr. Dennis Kengo (JP)" userId="aeb014c5-2f18-4035-80ba-4d519a44d38a" providerId="ADAL" clId="{20624EAE-7A54-4C0E-8E32-F1D45109832B}" dt="2025-05-13T08:17:27.804" v="3063" actId="47"/>
        <pc:sldMkLst>
          <pc:docMk/>
          <pc:sldMk cId="84025652" sldId="568"/>
        </pc:sldMkLst>
      </pc:sldChg>
      <pc:sldChg chg="modSp mod">
        <pc:chgData name="Oka, Dr. Dennis Kengo (JP)" userId="aeb014c5-2f18-4035-80ba-4d519a44d38a" providerId="ADAL" clId="{20624EAE-7A54-4C0E-8E32-F1D45109832B}" dt="2025-04-23T05:23:17.379" v="1"/>
        <pc:sldMkLst>
          <pc:docMk/>
          <pc:sldMk cId="639914504" sldId="573"/>
        </pc:sldMkLst>
        <pc:spChg chg="mod">
          <ac:chgData name="Oka, Dr. Dennis Kengo (JP)" userId="aeb014c5-2f18-4035-80ba-4d519a44d38a" providerId="ADAL" clId="{20624EAE-7A54-4C0E-8E32-F1D45109832B}" dt="2025-04-23T05:23:10.493" v="0"/>
          <ac:spMkLst>
            <pc:docMk/>
            <pc:sldMk cId="639914504" sldId="573"/>
            <ac:spMk id="48" creationId="{9DF01F17-F9D2-470C-98BE-243CD5ED053D}"/>
          </ac:spMkLst>
        </pc:spChg>
        <pc:spChg chg="mod">
          <ac:chgData name="Oka, Dr. Dennis Kengo (JP)" userId="aeb014c5-2f18-4035-80ba-4d519a44d38a" providerId="ADAL" clId="{20624EAE-7A54-4C0E-8E32-F1D45109832B}" dt="2025-04-23T05:23:17.379" v="1"/>
          <ac:spMkLst>
            <pc:docMk/>
            <pc:sldMk cId="639914504" sldId="573"/>
            <ac:spMk id="49" creationId="{F2D4C992-6263-44EE-BBDD-FD2201250A58}"/>
          </ac:spMkLst>
        </pc:spChg>
      </pc:sldChg>
      <pc:sldChg chg="addSp delSp modSp mod modClrScheme chgLayout">
        <pc:chgData name="Oka, Dr. Dennis Kengo (JP)" userId="aeb014c5-2f18-4035-80ba-4d519a44d38a" providerId="ADAL" clId="{20624EAE-7A54-4C0E-8E32-F1D45109832B}" dt="2025-05-14T09:23:14.468" v="8049" actId="20577"/>
        <pc:sldMkLst>
          <pc:docMk/>
          <pc:sldMk cId="2851990491" sldId="574"/>
        </pc:sldMkLst>
        <pc:spChg chg="mod ord">
          <ac:chgData name="Oka, Dr. Dennis Kengo (JP)" userId="aeb014c5-2f18-4035-80ba-4d519a44d38a" providerId="ADAL" clId="{20624EAE-7A54-4C0E-8E32-F1D45109832B}" dt="2025-04-23T05:25:41.100" v="15" actId="700"/>
          <ac:spMkLst>
            <pc:docMk/>
            <pc:sldMk cId="2851990491" sldId="574"/>
            <ac:spMk id="2" creationId="{7054490E-C206-42A8-A4EE-672A868A9F51}"/>
          </ac:spMkLst>
        </pc:spChg>
        <pc:spChg chg="add mod ord">
          <ac:chgData name="Oka, Dr. Dennis Kengo (JP)" userId="aeb014c5-2f18-4035-80ba-4d519a44d38a" providerId="ADAL" clId="{20624EAE-7A54-4C0E-8E32-F1D45109832B}" dt="2025-04-23T05:33:29.130" v="180" actId="207"/>
          <ac:spMkLst>
            <pc:docMk/>
            <pc:sldMk cId="2851990491" sldId="574"/>
            <ac:spMk id="3" creationId="{6E997B36-CAE2-8E25-D9B8-845D7ED1ED45}"/>
          </ac:spMkLst>
        </pc:spChg>
        <pc:spChg chg="mod ord">
          <ac:chgData name="Oka, Dr. Dennis Kengo (JP)" userId="aeb014c5-2f18-4035-80ba-4d519a44d38a" providerId="ADAL" clId="{20624EAE-7A54-4C0E-8E32-F1D45109832B}" dt="2025-05-14T09:23:14.468" v="8049" actId="20577"/>
          <ac:spMkLst>
            <pc:docMk/>
            <pc:sldMk cId="2851990491" sldId="574"/>
            <ac:spMk id="4" creationId="{80750A73-FDEC-4A78-A501-53D5BE0CA08C}"/>
          </ac:spMkLst>
        </pc:spChg>
        <pc:spChg chg="mod ord">
          <ac:chgData name="Oka, Dr. Dennis Kengo (JP)" userId="aeb014c5-2f18-4035-80ba-4d519a44d38a" providerId="ADAL" clId="{20624EAE-7A54-4C0E-8E32-F1D45109832B}" dt="2025-04-23T05:25:41.100" v="15" actId="700"/>
          <ac:spMkLst>
            <pc:docMk/>
            <pc:sldMk cId="2851990491" sldId="574"/>
            <ac:spMk id="6" creationId="{34777B78-1BE6-449D-96D3-3FB38AACD2CA}"/>
          </ac:spMkLst>
        </pc:spChg>
        <pc:spChg chg="add mod">
          <ac:chgData name="Oka, Dr. Dennis Kengo (JP)" userId="aeb014c5-2f18-4035-80ba-4d519a44d38a" providerId="ADAL" clId="{20624EAE-7A54-4C0E-8E32-F1D45109832B}" dt="2025-04-23T05:34:20.157" v="182" actId="1076"/>
          <ac:spMkLst>
            <pc:docMk/>
            <pc:sldMk cId="2851990491" sldId="574"/>
            <ac:spMk id="17" creationId="{2023AF66-6816-0233-775A-597065496506}"/>
          </ac:spMkLst>
        </pc:spChg>
        <pc:picChg chg="add mod">
          <ac:chgData name="Oka, Dr. Dennis Kengo (JP)" userId="aeb014c5-2f18-4035-80ba-4d519a44d38a" providerId="ADAL" clId="{20624EAE-7A54-4C0E-8E32-F1D45109832B}" dt="2025-04-23T05:33:35.955" v="181" actId="1076"/>
          <ac:picMkLst>
            <pc:docMk/>
            <pc:sldMk cId="2851990491" sldId="574"/>
            <ac:picMk id="18" creationId="{CFE0AC92-D0BD-F15E-B8A8-D4E894509C4C}"/>
          </ac:picMkLst>
        </pc:picChg>
        <pc:picChg chg="add mod">
          <ac:chgData name="Oka, Dr. Dennis Kengo (JP)" userId="aeb014c5-2f18-4035-80ba-4d519a44d38a" providerId="ADAL" clId="{20624EAE-7A54-4C0E-8E32-F1D45109832B}" dt="2025-04-23T05:33:35.955" v="181" actId="1076"/>
          <ac:picMkLst>
            <pc:docMk/>
            <pc:sldMk cId="2851990491" sldId="574"/>
            <ac:picMk id="19" creationId="{05234990-CA6A-70E9-6DC0-FFB01923FA20}"/>
          </ac:picMkLst>
        </pc:picChg>
        <pc:picChg chg="add mod modCrop">
          <ac:chgData name="Oka, Dr. Dennis Kengo (JP)" userId="aeb014c5-2f18-4035-80ba-4d519a44d38a" providerId="ADAL" clId="{20624EAE-7A54-4C0E-8E32-F1D45109832B}" dt="2025-04-23T05:32:20.647" v="147" actId="18131"/>
          <ac:picMkLst>
            <pc:docMk/>
            <pc:sldMk cId="2851990491" sldId="574"/>
            <ac:picMk id="23" creationId="{5EAB2584-D1A5-F0B5-5E90-926C925FEED1}"/>
          </ac:picMkLst>
        </pc:picChg>
      </pc:sldChg>
      <pc:sldChg chg="del ord">
        <pc:chgData name="Oka, Dr. Dennis Kengo (JP)" userId="aeb014c5-2f18-4035-80ba-4d519a44d38a" providerId="ADAL" clId="{20624EAE-7A54-4C0E-8E32-F1D45109832B}" dt="2025-05-13T08:17:25.683" v="3062" actId="47"/>
        <pc:sldMkLst>
          <pc:docMk/>
          <pc:sldMk cId="671522703" sldId="582"/>
        </pc:sldMkLst>
      </pc:sldChg>
      <pc:sldChg chg="del ord">
        <pc:chgData name="Oka, Dr. Dennis Kengo (JP)" userId="aeb014c5-2f18-4035-80ba-4d519a44d38a" providerId="ADAL" clId="{20624EAE-7A54-4C0E-8E32-F1D45109832B}" dt="2025-05-13T08:16:53.936" v="3061" actId="47"/>
        <pc:sldMkLst>
          <pc:docMk/>
          <pc:sldMk cId="1029638147" sldId="583"/>
        </pc:sldMkLst>
      </pc:sldChg>
      <pc:sldChg chg="del ord">
        <pc:chgData name="Oka, Dr. Dennis Kengo (JP)" userId="aeb014c5-2f18-4035-80ba-4d519a44d38a" providerId="ADAL" clId="{20624EAE-7A54-4C0E-8E32-F1D45109832B}" dt="2025-05-13T16:23:54.529" v="3854" actId="47"/>
        <pc:sldMkLst>
          <pc:docMk/>
          <pc:sldMk cId="1155898757" sldId="584"/>
        </pc:sldMkLst>
      </pc:sldChg>
      <pc:sldChg chg="modSp mod ord">
        <pc:chgData name="Oka, Dr. Dennis Kengo (JP)" userId="aeb014c5-2f18-4035-80ba-4d519a44d38a" providerId="ADAL" clId="{20624EAE-7A54-4C0E-8E32-F1D45109832B}" dt="2025-04-23T05:38:29.847" v="1036"/>
        <pc:sldMkLst>
          <pc:docMk/>
          <pc:sldMk cId="1399101948" sldId="587"/>
        </pc:sldMkLst>
        <pc:spChg chg="mod">
          <ac:chgData name="Oka, Dr. Dennis Kengo (JP)" userId="aeb014c5-2f18-4035-80ba-4d519a44d38a" providerId="ADAL" clId="{20624EAE-7A54-4C0E-8E32-F1D45109832B}" dt="2025-04-23T05:24:43.194" v="9"/>
          <ac:spMkLst>
            <pc:docMk/>
            <pc:sldMk cId="1399101948" sldId="587"/>
            <ac:spMk id="7" creationId="{D10E7627-693E-4577-A6E2-5891B69B95CD}"/>
          </ac:spMkLst>
        </pc:spChg>
      </pc:sldChg>
      <pc:sldChg chg="modSp add del">
        <pc:chgData name="Oka, Dr. Dennis Kengo (JP)" userId="aeb014c5-2f18-4035-80ba-4d519a44d38a" providerId="ADAL" clId="{20624EAE-7A54-4C0E-8E32-F1D45109832B}" dt="2025-05-13T16:15:12.850" v="3652" actId="47"/>
        <pc:sldMkLst>
          <pc:docMk/>
          <pc:sldMk cId="1038316414" sldId="598"/>
        </pc:sldMkLst>
      </pc:sldChg>
      <pc:sldChg chg="addSp delSp modSp add mod modNotesTx">
        <pc:chgData name="Oka, Dr. Dennis Kengo (JP)" userId="aeb014c5-2f18-4035-80ba-4d519a44d38a" providerId="ADAL" clId="{20624EAE-7A54-4C0E-8E32-F1D45109832B}" dt="2025-05-14T09:02:03.912" v="7639"/>
        <pc:sldMkLst>
          <pc:docMk/>
          <pc:sldMk cId="2394702158" sldId="628"/>
        </pc:sldMkLst>
      </pc:sldChg>
      <pc:sldChg chg="add del">
        <pc:chgData name="Oka, Dr. Dennis Kengo (JP)" userId="aeb014c5-2f18-4035-80ba-4d519a44d38a" providerId="ADAL" clId="{20624EAE-7A54-4C0E-8E32-F1D45109832B}" dt="2025-04-23T05:24:45.438" v="10" actId="47"/>
        <pc:sldMkLst>
          <pc:docMk/>
          <pc:sldMk cId="2857444587" sldId="647"/>
        </pc:sldMkLst>
      </pc:sldChg>
      <pc:sldChg chg="add del mod modShow">
        <pc:chgData name="Oka, Dr. Dennis Kengo (JP)" userId="aeb014c5-2f18-4035-80ba-4d519a44d38a" providerId="ADAL" clId="{20624EAE-7A54-4C0E-8E32-F1D45109832B}" dt="2025-05-13T08:16:05.684" v="3058" actId="47"/>
        <pc:sldMkLst>
          <pc:docMk/>
          <pc:sldMk cId="2373312550" sldId="691"/>
        </pc:sldMkLst>
      </pc:sldChg>
      <pc:sldChg chg="add del mod modShow">
        <pc:chgData name="Oka, Dr. Dennis Kengo (JP)" userId="aeb014c5-2f18-4035-80ba-4d519a44d38a" providerId="ADAL" clId="{20624EAE-7A54-4C0E-8E32-F1D45109832B}" dt="2025-05-13T05:55:25.636" v="2589" actId="47"/>
        <pc:sldMkLst>
          <pc:docMk/>
          <pc:sldMk cId="1769999660" sldId="1582"/>
        </pc:sldMkLst>
      </pc:sldChg>
      <pc:sldChg chg="add del mod modShow">
        <pc:chgData name="Oka, Dr. Dennis Kengo (JP)" userId="aeb014c5-2f18-4035-80ba-4d519a44d38a" providerId="ADAL" clId="{20624EAE-7A54-4C0E-8E32-F1D45109832B}" dt="2025-05-13T08:05:55.169" v="2811" actId="47"/>
        <pc:sldMkLst>
          <pc:docMk/>
          <pc:sldMk cId="578059535" sldId="5927"/>
        </pc:sldMkLst>
      </pc:sldChg>
      <pc:sldChg chg="addSp delSp modSp add mod">
        <pc:chgData name="Oka, Dr. Dennis Kengo (JP)" userId="aeb014c5-2f18-4035-80ba-4d519a44d38a" providerId="ADAL" clId="{20624EAE-7A54-4C0E-8E32-F1D45109832B}" dt="2025-05-14T09:23:59.245" v="8051" actId="947"/>
        <pc:sldMkLst>
          <pc:docMk/>
          <pc:sldMk cId="2115831695" sldId="2134808552"/>
        </pc:sldMkLst>
      </pc:sldChg>
      <pc:sldChg chg="addSp delSp modSp add mod">
        <pc:chgData name="Oka, Dr. Dennis Kengo (JP)" userId="aeb014c5-2f18-4035-80ba-4d519a44d38a" providerId="ADAL" clId="{20624EAE-7A54-4C0E-8E32-F1D45109832B}" dt="2025-05-14T09:24:32.909" v="8056" actId="20577"/>
        <pc:sldMkLst>
          <pc:docMk/>
          <pc:sldMk cId="662665077" sldId="2134808588"/>
        </pc:sldMkLst>
      </pc:sldChg>
      <pc:sldChg chg="addSp delSp modSp add mod">
        <pc:chgData name="Oka, Dr. Dennis Kengo (JP)" userId="aeb014c5-2f18-4035-80ba-4d519a44d38a" providerId="ADAL" clId="{20624EAE-7A54-4C0E-8E32-F1D45109832B}" dt="2025-05-14T09:24:21.011" v="8054" actId="947"/>
        <pc:sldMkLst>
          <pc:docMk/>
          <pc:sldMk cId="761531386" sldId="2134808589"/>
        </pc:sldMkLst>
      </pc:sldChg>
      <pc:sldChg chg="add del mod modShow">
        <pc:chgData name="Oka, Dr. Dennis Kengo (JP)" userId="aeb014c5-2f18-4035-80ba-4d519a44d38a" providerId="ADAL" clId="{20624EAE-7A54-4C0E-8E32-F1D45109832B}" dt="2025-05-13T16:15:14.359" v="3653" actId="47"/>
        <pc:sldMkLst>
          <pc:docMk/>
          <pc:sldMk cId="4287544541" sldId="2134808651"/>
        </pc:sldMkLst>
      </pc:sldChg>
      <pc:sldChg chg="add del mod modShow">
        <pc:chgData name="Oka, Dr. Dennis Kengo (JP)" userId="aeb014c5-2f18-4035-80ba-4d519a44d38a" providerId="ADAL" clId="{20624EAE-7A54-4C0E-8E32-F1D45109832B}" dt="2025-05-13T08:06:05.159" v="2814" actId="47"/>
        <pc:sldMkLst>
          <pc:docMk/>
          <pc:sldMk cId="1824642741" sldId="2144327897"/>
        </pc:sldMkLst>
      </pc:sldChg>
      <pc:sldChg chg="addSp modSp add del mod ord modShow">
        <pc:chgData name="Oka, Dr. Dennis Kengo (JP)" userId="aeb014c5-2f18-4035-80ba-4d519a44d38a" providerId="ADAL" clId="{20624EAE-7A54-4C0E-8E32-F1D45109832B}" dt="2025-05-13T05:55:19.197" v="2586" actId="47"/>
        <pc:sldMkLst>
          <pc:docMk/>
          <pc:sldMk cId="3551687455" sldId="2144327900"/>
        </pc:sldMkLst>
      </pc:sldChg>
      <pc:sldChg chg="modSp add del mod">
        <pc:chgData name="Oka, Dr. Dennis Kengo (JP)" userId="aeb014c5-2f18-4035-80ba-4d519a44d38a" providerId="ADAL" clId="{20624EAE-7A54-4C0E-8E32-F1D45109832B}" dt="2025-05-13T16:50:33.799" v="4056" actId="47"/>
        <pc:sldMkLst>
          <pc:docMk/>
          <pc:sldMk cId="3301639441" sldId="2147375835"/>
        </pc:sldMkLst>
      </pc:sldChg>
      <pc:sldChg chg="add del mod modShow">
        <pc:chgData name="Oka, Dr. Dennis Kengo (JP)" userId="aeb014c5-2f18-4035-80ba-4d519a44d38a" providerId="ADAL" clId="{20624EAE-7A54-4C0E-8E32-F1D45109832B}" dt="2025-05-13T15:54:48.710" v="3158" actId="47"/>
        <pc:sldMkLst>
          <pc:docMk/>
          <pc:sldMk cId="1067126837" sldId="2147470911"/>
        </pc:sldMkLst>
      </pc:sldChg>
      <pc:sldChg chg="addSp modSp add del mod modShow">
        <pc:chgData name="Oka, Dr. Dennis Kengo (JP)" userId="aeb014c5-2f18-4035-80ba-4d519a44d38a" providerId="ADAL" clId="{20624EAE-7A54-4C0E-8E32-F1D45109832B}" dt="2025-05-13T16:02:58.136" v="3209" actId="47"/>
        <pc:sldMkLst>
          <pc:docMk/>
          <pc:sldMk cId="617766318" sldId="2147477810"/>
        </pc:sldMkLst>
      </pc:sldChg>
      <pc:sldChg chg="addSp delSp modSp new del mod modClrScheme chgLayout">
        <pc:chgData name="Oka, Dr. Dennis Kengo (JP)" userId="aeb014c5-2f18-4035-80ba-4d519a44d38a" providerId="ADAL" clId="{20624EAE-7A54-4C0E-8E32-F1D45109832B}" dt="2025-04-23T05:41:42.458" v="1045" actId="47"/>
        <pc:sldMkLst>
          <pc:docMk/>
          <pc:sldMk cId="1297169167" sldId="2147477811"/>
        </pc:sldMkLst>
      </pc:sldChg>
      <pc:sldChg chg="addSp delSp modSp new del mod ord modClrScheme chgLayout">
        <pc:chgData name="Oka, Dr. Dennis Kengo (JP)" userId="aeb014c5-2f18-4035-80ba-4d519a44d38a" providerId="ADAL" clId="{20624EAE-7A54-4C0E-8E32-F1D45109832B}" dt="2025-05-13T08:17:33.490" v="3064" actId="47"/>
        <pc:sldMkLst>
          <pc:docMk/>
          <pc:sldMk cId="3820140994" sldId="2147477812"/>
        </pc:sldMkLst>
      </pc:sldChg>
      <pc:sldChg chg="addSp delSp modSp add del mod ord modNotes">
        <pc:chgData name="Oka, Dr. Dennis Kengo (JP)" userId="aeb014c5-2f18-4035-80ba-4d519a44d38a" providerId="ADAL" clId="{20624EAE-7A54-4C0E-8E32-F1D45109832B}" dt="2025-04-23T05:38:29.835" v="1031" actId="2696"/>
        <pc:sldMkLst>
          <pc:docMk/>
          <pc:sldMk cId="1914863786" sldId="2147477813"/>
        </pc:sldMkLst>
      </pc:sldChg>
      <pc:sldChg chg="add del mod modShow">
        <pc:chgData name="Oka, Dr. Dennis Kengo (JP)" userId="aeb014c5-2f18-4035-80ba-4d519a44d38a" providerId="ADAL" clId="{20624EAE-7A54-4C0E-8E32-F1D45109832B}" dt="2025-05-13T08:05:54" v="2810" actId="47"/>
        <pc:sldMkLst>
          <pc:docMk/>
          <pc:sldMk cId="2508772773" sldId="2147477813"/>
        </pc:sldMkLst>
      </pc:sldChg>
      <pc:sldChg chg="modSp add del mod ord">
        <pc:chgData name="Oka, Dr. Dennis Kengo (JP)" userId="aeb014c5-2f18-4035-80ba-4d519a44d38a" providerId="ADAL" clId="{20624EAE-7A54-4C0E-8E32-F1D45109832B}" dt="2025-04-23T05:38:29.852" v="1037" actId="2696"/>
        <pc:sldMkLst>
          <pc:docMk/>
          <pc:sldMk cId="2948378699" sldId="2147477814"/>
        </pc:sldMkLst>
      </pc:sldChg>
      <pc:sldChg chg="modSp add del mod ord">
        <pc:chgData name="Oka, Dr. Dennis Kengo (JP)" userId="aeb014c5-2f18-4035-80ba-4d519a44d38a" providerId="ADAL" clId="{20624EAE-7A54-4C0E-8E32-F1D45109832B}" dt="2025-04-23T05:38:29.840" v="1034" actId="2696"/>
        <pc:sldMkLst>
          <pc:docMk/>
          <pc:sldMk cId="3623239719" sldId="2147477815"/>
        </pc:sldMkLst>
      </pc:sldChg>
      <pc:sldChg chg="addSp delSp modSp add del mod ord modNotes">
        <pc:chgData name="Oka, Dr. Dennis Kengo (JP)" userId="aeb014c5-2f18-4035-80ba-4d519a44d38a" providerId="ADAL" clId="{20624EAE-7A54-4C0E-8E32-F1D45109832B}" dt="2025-05-13T05:32:40.895" v="2533" actId="47"/>
        <pc:sldMkLst>
          <pc:docMk/>
          <pc:sldMk cId="1026184445" sldId="2147477816"/>
        </pc:sldMkLst>
      </pc:sldChg>
      <pc:sldChg chg="modSp add del mod ord">
        <pc:chgData name="Oka, Dr. Dennis Kengo (JP)" userId="aeb014c5-2f18-4035-80ba-4d519a44d38a" providerId="ADAL" clId="{20624EAE-7A54-4C0E-8E32-F1D45109832B}" dt="2025-05-13T05:45:58.251" v="2582" actId="47"/>
        <pc:sldMkLst>
          <pc:docMk/>
          <pc:sldMk cId="3168445107" sldId="2147477817"/>
        </pc:sldMkLst>
      </pc:sldChg>
      <pc:sldChg chg="modSp add del mod ord">
        <pc:chgData name="Oka, Dr. Dennis Kengo (JP)" userId="aeb014c5-2f18-4035-80ba-4d519a44d38a" providerId="ADAL" clId="{20624EAE-7A54-4C0E-8E32-F1D45109832B}" dt="2025-05-13T05:45:52.995" v="2580" actId="47"/>
        <pc:sldMkLst>
          <pc:docMk/>
          <pc:sldMk cId="263962994" sldId="2147477818"/>
        </pc:sldMkLst>
      </pc:sldChg>
      <pc:sldChg chg="addSp delSp modSp new del mod modClrScheme chgLayout modNotesTx">
        <pc:chgData name="Oka, Dr. Dennis Kengo (JP)" userId="aeb014c5-2f18-4035-80ba-4d519a44d38a" providerId="ADAL" clId="{20624EAE-7A54-4C0E-8E32-F1D45109832B}" dt="2025-05-13T06:00:02.030" v="2678" actId="47"/>
        <pc:sldMkLst>
          <pc:docMk/>
          <pc:sldMk cId="3186832008" sldId="2147477819"/>
        </pc:sldMkLst>
      </pc:sldChg>
      <pc:sldChg chg="addSp delSp modSp new del mod modClrScheme chgLayout">
        <pc:chgData name="Oka, Dr. Dennis Kengo (JP)" userId="aeb014c5-2f18-4035-80ba-4d519a44d38a" providerId="ADAL" clId="{20624EAE-7A54-4C0E-8E32-F1D45109832B}" dt="2025-05-13T08:06:53.604" v="2820" actId="47"/>
        <pc:sldMkLst>
          <pc:docMk/>
          <pc:sldMk cId="3100415428" sldId="2147477820"/>
        </pc:sldMkLst>
      </pc:sldChg>
      <pc:sldChg chg="modSp new del mod">
        <pc:chgData name="Oka, Dr. Dennis Kengo (JP)" userId="aeb014c5-2f18-4035-80ba-4d519a44d38a" providerId="ADAL" clId="{20624EAE-7A54-4C0E-8E32-F1D45109832B}" dt="2025-05-13T08:08:04.685" v="2827" actId="47"/>
        <pc:sldMkLst>
          <pc:docMk/>
          <pc:sldMk cId="3836869289" sldId="2147477821"/>
        </pc:sldMkLst>
      </pc:sldChg>
      <pc:sldChg chg="addSp delSp modSp new mod modClrScheme chgLayout">
        <pc:chgData name="Oka, Dr. Dennis Kengo (JP)" userId="aeb014c5-2f18-4035-80ba-4d519a44d38a" providerId="ADAL" clId="{20624EAE-7A54-4C0E-8E32-F1D45109832B}" dt="2025-05-14T09:01:37.592" v="7627"/>
        <pc:sldMkLst>
          <pc:docMk/>
          <pc:sldMk cId="2261126552" sldId="2147477822"/>
        </pc:sldMkLst>
      </pc:sldChg>
      <pc:sldChg chg="modSp new del mod">
        <pc:chgData name="Oka, Dr. Dennis Kengo (JP)" userId="aeb014c5-2f18-4035-80ba-4d519a44d38a" providerId="ADAL" clId="{20624EAE-7A54-4C0E-8E32-F1D45109832B}" dt="2025-05-13T08:05:57.415" v="2812" actId="47"/>
        <pc:sldMkLst>
          <pc:docMk/>
          <pc:sldMk cId="503116685" sldId="2147477823"/>
        </pc:sldMkLst>
      </pc:sldChg>
      <pc:sldChg chg="addSp delSp modSp new del mod modClrScheme chgLayout">
        <pc:chgData name="Oka, Dr. Dennis Kengo (JP)" userId="aeb014c5-2f18-4035-80ba-4d519a44d38a" providerId="ADAL" clId="{20624EAE-7A54-4C0E-8E32-F1D45109832B}" dt="2025-05-02T04:12:43.931" v="1460" actId="47"/>
        <pc:sldMkLst>
          <pc:docMk/>
          <pc:sldMk cId="494871059" sldId="2147477824"/>
        </pc:sldMkLst>
      </pc:sldChg>
      <pc:sldChg chg="addSp delSp modSp add del mod modClrScheme chgLayout">
        <pc:chgData name="Oka, Dr. Dennis Kengo (JP)" userId="aeb014c5-2f18-4035-80ba-4d519a44d38a" providerId="ADAL" clId="{20624EAE-7A54-4C0E-8E32-F1D45109832B}" dt="2025-05-13T16:15:07.353" v="3650" actId="47"/>
        <pc:sldMkLst>
          <pc:docMk/>
          <pc:sldMk cId="3088998876" sldId="2147477833"/>
        </pc:sldMkLst>
      </pc:sldChg>
      <pc:sldChg chg="add del mod modShow">
        <pc:chgData name="Oka, Dr. Dennis Kengo (JP)" userId="aeb014c5-2f18-4035-80ba-4d519a44d38a" providerId="ADAL" clId="{20624EAE-7A54-4C0E-8E32-F1D45109832B}" dt="2025-05-13T08:07:57.677" v="2825" actId="47"/>
        <pc:sldMkLst>
          <pc:docMk/>
          <pc:sldMk cId="3104380630" sldId="2147482789"/>
        </pc:sldMkLst>
      </pc:sldChg>
      <pc:sldChg chg="add del mod modShow">
        <pc:chgData name="Oka, Dr. Dennis Kengo (JP)" userId="aeb014c5-2f18-4035-80ba-4d519a44d38a" providerId="ADAL" clId="{20624EAE-7A54-4C0E-8E32-F1D45109832B}" dt="2025-05-13T08:07:59.938" v="2826" actId="47"/>
        <pc:sldMkLst>
          <pc:docMk/>
          <pc:sldMk cId="418561440" sldId="2147482791"/>
        </pc:sldMkLst>
      </pc:sldChg>
      <pc:sldChg chg="modSp new del mod">
        <pc:chgData name="Oka, Dr. Dennis Kengo (JP)" userId="aeb014c5-2f18-4035-80ba-4d519a44d38a" providerId="ADAL" clId="{20624EAE-7A54-4C0E-8E32-F1D45109832B}" dt="2025-05-13T08:06:49.255" v="2819" actId="47"/>
        <pc:sldMkLst>
          <pc:docMk/>
          <pc:sldMk cId="2606752261" sldId="2147482792"/>
        </pc:sldMkLst>
      </pc:sldChg>
      <pc:sldChg chg="addSp delSp modSp new mod">
        <pc:chgData name="Oka, Dr. Dennis Kengo (JP)" userId="aeb014c5-2f18-4035-80ba-4d519a44d38a" providerId="ADAL" clId="{20624EAE-7A54-4C0E-8E32-F1D45109832B}" dt="2025-05-14T09:02:36.595" v="7651" actId="20577"/>
        <pc:sldMkLst>
          <pc:docMk/>
          <pc:sldMk cId="1509253937" sldId="2147482793"/>
        </pc:sldMkLst>
        <pc:spChg chg="mod">
          <ac:chgData name="Oka, Dr. Dennis Kengo (JP)" userId="aeb014c5-2f18-4035-80ba-4d519a44d38a" providerId="ADAL" clId="{20624EAE-7A54-4C0E-8E32-F1D45109832B}" dt="2025-05-14T09:02:36.595" v="7651" actId="20577"/>
          <ac:spMkLst>
            <pc:docMk/>
            <pc:sldMk cId="1509253937" sldId="2147482793"/>
            <ac:spMk id="2" creationId="{04967BDB-19A0-285A-0F66-944185ACFA9F}"/>
          </ac:spMkLst>
        </pc:spChg>
        <pc:spChg chg="add mod">
          <ac:chgData name="Oka, Dr. Dennis Kengo (JP)" userId="aeb014c5-2f18-4035-80ba-4d519a44d38a" providerId="ADAL" clId="{20624EAE-7A54-4C0E-8E32-F1D45109832B}" dt="2025-05-14T08:59:48.500" v="7605"/>
          <ac:spMkLst>
            <pc:docMk/>
            <pc:sldMk cId="1509253937" sldId="2147482793"/>
            <ac:spMk id="6" creationId="{453869D5-556E-60D5-2C18-DC50A699CA1E}"/>
          </ac:spMkLst>
        </pc:spChg>
        <pc:graphicFrameChg chg="add mod modGraphic">
          <ac:chgData name="Oka, Dr. Dennis Kengo (JP)" userId="aeb014c5-2f18-4035-80ba-4d519a44d38a" providerId="ADAL" clId="{20624EAE-7A54-4C0E-8E32-F1D45109832B}" dt="2025-05-14T08:27:02.867" v="6682" actId="207"/>
          <ac:graphicFrameMkLst>
            <pc:docMk/>
            <pc:sldMk cId="1509253937" sldId="2147482793"/>
            <ac:graphicFrameMk id="5" creationId="{0223F6E1-9A19-1AD4-E23A-F4AD49E1E58E}"/>
          </ac:graphicFrameMkLst>
        </pc:graphicFrameChg>
      </pc:sldChg>
      <pc:sldChg chg="addSp delSp modSp add mod ord">
        <pc:chgData name="Oka, Dr. Dennis Kengo (JP)" userId="aeb014c5-2f18-4035-80ba-4d519a44d38a" providerId="ADAL" clId="{20624EAE-7A54-4C0E-8E32-F1D45109832B}" dt="2025-05-14T08:49:11.304" v="7483" actId="1076"/>
        <pc:sldMkLst>
          <pc:docMk/>
          <pc:sldMk cId="2143368257" sldId="2147482794"/>
        </pc:sldMkLst>
        <pc:spChg chg="mod">
          <ac:chgData name="Oka, Dr. Dennis Kengo (JP)" userId="aeb014c5-2f18-4035-80ba-4d519a44d38a" providerId="ADAL" clId="{20624EAE-7A54-4C0E-8E32-F1D45109832B}" dt="2025-05-14T07:58:31.853" v="6301" actId="207"/>
          <ac:spMkLst>
            <pc:docMk/>
            <pc:sldMk cId="2143368257" sldId="2147482794"/>
            <ac:spMk id="2" creationId="{7DE37440-D260-F91C-F2E9-7CE5D0F41A04}"/>
          </ac:spMkLst>
        </pc:spChg>
        <pc:spChg chg="mod">
          <ac:chgData name="Oka, Dr. Dennis Kengo (JP)" userId="aeb014c5-2f18-4035-80ba-4d519a44d38a" providerId="ADAL" clId="{20624EAE-7A54-4C0E-8E32-F1D45109832B}" dt="2025-05-14T08:01:22.646" v="6336" actId="207"/>
          <ac:spMkLst>
            <pc:docMk/>
            <pc:sldMk cId="2143368257" sldId="2147482794"/>
            <ac:spMk id="5" creationId="{0C0B6660-AFE7-CDE6-EDC8-F6C14D0B7A69}"/>
          </ac:spMkLst>
        </pc:spChg>
        <pc:spChg chg="mod">
          <ac:chgData name="Oka, Dr. Dennis Kengo (JP)" userId="aeb014c5-2f18-4035-80ba-4d519a44d38a" providerId="ADAL" clId="{20624EAE-7A54-4C0E-8E32-F1D45109832B}" dt="2025-05-14T08:49:11.304" v="7483" actId="1076"/>
          <ac:spMkLst>
            <pc:docMk/>
            <pc:sldMk cId="2143368257" sldId="2147482794"/>
            <ac:spMk id="8" creationId="{F8487285-A2A6-C402-693D-D773051BAEFC}"/>
          </ac:spMkLst>
        </pc:spChg>
        <pc:spChg chg="mod">
          <ac:chgData name="Oka, Dr. Dennis Kengo (JP)" userId="aeb014c5-2f18-4035-80ba-4d519a44d38a" providerId="ADAL" clId="{20624EAE-7A54-4C0E-8E32-F1D45109832B}" dt="2025-05-14T08:01:22.646" v="6336" actId="207"/>
          <ac:spMkLst>
            <pc:docMk/>
            <pc:sldMk cId="2143368257" sldId="2147482794"/>
            <ac:spMk id="10" creationId="{AA1E308B-B301-6ACC-DFF7-F34089C4504B}"/>
          </ac:spMkLst>
        </pc:spChg>
        <pc:spChg chg="mod">
          <ac:chgData name="Oka, Dr. Dennis Kengo (JP)" userId="aeb014c5-2f18-4035-80ba-4d519a44d38a" providerId="ADAL" clId="{20624EAE-7A54-4C0E-8E32-F1D45109832B}" dt="2025-05-14T07:52:03.080" v="6177" actId="1076"/>
          <ac:spMkLst>
            <pc:docMk/>
            <pc:sldMk cId="2143368257" sldId="2147482794"/>
            <ac:spMk id="12" creationId="{0E6953BF-A8A9-BD01-4C53-B215DCC24B65}"/>
          </ac:spMkLst>
        </pc:spChg>
        <pc:spChg chg="mod">
          <ac:chgData name="Oka, Dr. Dennis Kengo (JP)" userId="aeb014c5-2f18-4035-80ba-4d519a44d38a" providerId="ADAL" clId="{20624EAE-7A54-4C0E-8E32-F1D45109832B}" dt="2025-05-14T07:55:27.423" v="6269" actId="1035"/>
          <ac:spMkLst>
            <pc:docMk/>
            <pc:sldMk cId="2143368257" sldId="2147482794"/>
            <ac:spMk id="18" creationId="{8DCC7189-5FFA-4C16-F09F-86B9161A5C90}"/>
          </ac:spMkLst>
        </pc:spChg>
        <pc:spChg chg="mod">
          <ac:chgData name="Oka, Dr. Dennis Kengo (JP)" userId="aeb014c5-2f18-4035-80ba-4d519a44d38a" providerId="ADAL" clId="{20624EAE-7A54-4C0E-8E32-F1D45109832B}" dt="2025-05-14T07:54:54.598" v="6251" actId="1076"/>
          <ac:spMkLst>
            <pc:docMk/>
            <pc:sldMk cId="2143368257" sldId="2147482794"/>
            <ac:spMk id="22" creationId="{80DA1FB2-AF07-D956-D12F-6EC53C94D19D}"/>
          </ac:spMkLst>
        </pc:spChg>
        <pc:spChg chg="mod">
          <ac:chgData name="Oka, Dr. Dennis Kengo (JP)" userId="aeb014c5-2f18-4035-80ba-4d519a44d38a" providerId="ADAL" clId="{20624EAE-7A54-4C0E-8E32-F1D45109832B}" dt="2025-05-14T08:01:16.202" v="6335" actId="207"/>
          <ac:spMkLst>
            <pc:docMk/>
            <pc:sldMk cId="2143368257" sldId="2147482794"/>
            <ac:spMk id="33" creationId="{44B68BE8-0D03-C0DE-FA2F-DF425C91C978}"/>
          </ac:spMkLst>
        </pc:spChg>
        <pc:spChg chg="mod">
          <ac:chgData name="Oka, Dr. Dennis Kengo (JP)" userId="aeb014c5-2f18-4035-80ba-4d519a44d38a" providerId="ADAL" clId="{20624EAE-7A54-4C0E-8E32-F1D45109832B}" dt="2025-05-14T08:01:22.646" v="6336" actId="207"/>
          <ac:spMkLst>
            <pc:docMk/>
            <pc:sldMk cId="2143368257" sldId="2147482794"/>
            <ac:spMk id="35" creationId="{7C6274F5-85DC-F363-7E4A-0B5049398BFA}"/>
          </ac:spMkLst>
        </pc:spChg>
        <pc:spChg chg="mod">
          <ac:chgData name="Oka, Dr. Dennis Kengo (JP)" userId="aeb014c5-2f18-4035-80ba-4d519a44d38a" providerId="ADAL" clId="{20624EAE-7A54-4C0E-8E32-F1D45109832B}" dt="2025-05-14T08:01:22.646" v="6336" actId="207"/>
          <ac:spMkLst>
            <pc:docMk/>
            <pc:sldMk cId="2143368257" sldId="2147482794"/>
            <ac:spMk id="36" creationId="{2D065AA6-BFAE-0B21-6CF3-D1880FD1F533}"/>
          </ac:spMkLst>
        </pc:spChg>
        <pc:grpChg chg="mod">
          <ac:chgData name="Oka, Dr. Dennis Kengo (JP)" userId="aeb014c5-2f18-4035-80ba-4d519a44d38a" providerId="ADAL" clId="{20624EAE-7A54-4C0E-8E32-F1D45109832B}" dt="2025-05-14T07:55:27.423" v="6269" actId="1035"/>
          <ac:grpSpMkLst>
            <pc:docMk/>
            <pc:sldMk cId="2143368257" sldId="2147482794"/>
            <ac:grpSpMk id="14" creationId="{1ED9F7CE-C2B4-FC21-106E-A62F4E2D3EA3}"/>
          </ac:grpSpMkLst>
        </pc:grpChg>
        <pc:grpChg chg="add del mod">
          <ac:chgData name="Oka, Dr. Dennis Kengo (JP)" userId="aeb014c5-2f18-4035-80ba-4d519a44d38a" providerId="ADAL" clId="{20624EAE-7A54-4C0E-8E32-F1D45109832B}" dt="2025-05-14T07:54:54.598" v="6251" actId="1076"/>
          <ac:grpSpMkLst>
            <pc:docMk/>
            <pc:sldMk cId="2143368257" sldId="2147482794"/>
            <ac:grpSpMk id="20" creationId="{F479C514-5FC2-4163-3514-AB810E691E65}"/>
          </ac:grpSpMkLst>
        </pc:grpChg>
        <pc:picChg chg="mod">
          <ac:chgData name="Oka, Dr. Dennis Kengo (JP)" userId="aeb014c5-2f18-4035-80ba-4d519a44d38a" providerId="ADAL" clId="{20624EAE-7A54-4C0E-8E32-F1D45109832B}" dt="2025-05-14T07:55:27.423" v="6269" actId="1035"/>
          <ac:picMkLst>
            <pc:docMk/>
            <pc:sldMk cId="2143368257" sldId="2147482794"/>
            <ac:picMk id="19" creationId="{D6C12FBD-355E-FA29-C5B0-171B85C58D9B}"/>
          </ac:picMkLst>
        </pc:picChg>
        <pc:picChg chg="mod">
          <ac:chgData name="Oka, Dr. Dennis Kengo (JP)" userId="aeb014c5-2f18-4035-80ba-4d519a44d38a" providerId="ADAL" clId="{20624EAE-7A54-4C0E-8E32-F1D45109832B}" dt="2025-05-14T07:54:54.598" v="6251" actId="1076"/>
          <ac:picMkLst>
            <pc:docMk/>
            <pc:sldMk cId="2143368257" sldId="2147482794"/>
            <ac:picMk id="23" creationId="{D6236C90-B5FC-8BA1-7EF9-7ED913851CF9}"/>
          </ac:picMkLst>
        </pc:picChg>
      </pc:sldChg>
      <pc:sldChg chg="addSp delSp modSp add mod">
        <pc:chgData name="Oka, Dr. Dennis Kengo (JP)" userId="aeb014c5-2f18-4035-80ba-4d519a44d38a" providerId="ADAL" clId="{20624EAE-7A54-4C0E-8E32-F1D45109832B}" dt="2025-05-14T08:49:28.637" v="7488" actId="1076"/>
        <pc:sldMkLst>
          <pc:docMk/>
          <pc:sldMk cId="3663075995" sldId="2147482795"/>
        </pc:sldMkLst>
        <pc:spChg chg="mod">
          <ac:chgData name="Oka, Dr. Dennis Kengo (JP)" userId="aeb014c5-2f18-4035-80ba-4d519a44d38a" providerId="ADAL" clId="{20624EAE-7A54-4C0E-8E32-F1D45109832B}" dt="2025-05-14T07:58:46.631" v="6303" actId="207"/>
          <ac:spMkLst>
            <pc:docMk/>
            <pc:sldMk cId="3663075995" sldId="2147482795"/>
            <ac:spMk id="2" creationId="{3EAFB82C-CCF8-C5BD-7596-21E009AE839C}"/>
          </ac:spMkLst>
        </pc:spChg>
        <pc:spChg chg="mod">
          <ac:chgData name="Oka, Dr. Dennis Kengo (JP)" userId="aeb014c5-2f18-4035-80ba-4d519a44d38a" providerId="ADAL" clId="{20624EAE-7A54-4C0E-8E32-F1D45109832B}" dt="2025-05-14T08:49:28.637" v="7488" actId="1076"/>
          <ac:spMkLst>
            <pc:docMk/>
            <pc:sldMk cId="3663075995" sldId="2147482795"/>
            <ac:spMk id="8" creationId="{EA151593-2783-B729-BF0A-87522BB928B3}"/>
          </ac:spMkLst>
        </pc:spChg>
        <pc:spChg chg="add mod">
          <ac:chgData name="Oka, Dr. Dennis Kengo (JP)" userId="aeb014c5-2f18-4035-80ba-4d519a44d38a" providerId="ADAL" clId="{20624EAE-7A54-4C0E-8E32-F1D45109832B}" dt="2025-05-14T07:56:02.158" v="6276"/>
          <ac:spMkLst>
            <pc:docMk/>
            <pc:sldMk cId="3663075995" sldId="2147482795"/>
            <ac:spMk id="14" creationId="{07F72C2E-C566-8F60-7A20-AFFAB502B831}"/>
          </ac:spMkLst>
        </pc:spChg>
        <pc:spChg chg="mod">
          <ac:chgData name="Oka, Dr. Dennis Kengo (JP)" userId="aeb014c5-2f18-4035-80ba-4d519a44d38a" providerId="ADAL" clId="{20624EAE-7A54-4C0E-8E32-F1D45109832B}" dt="2025-05-14T07:56:02.158" v="6276"/>
          <ac:spMkLst>
            <pc:docMk/>
            <pc:sldMk cId="3663075995" sldId="2147482795"/>
            <ac:spMk id="19" creationId="{D2589921-D4C6-1F54-3B93-197EE7E2922B}"/>
          </ac:spMkLst>
        </pc:spChg>
        <pc:spChg chg="mod">
          <ac:chgData name="Oka, Dr. Dennis Kengo (JP)" userId="aeb014c5-2f18-4035-80ba-4d519a44d38a" providerId="ADAL" clId="{20624EAE-7A54-4C0E-8E32-F1D45109832B}" dt="2025-05-14T07:56:02.158" v="6276"/>
          <ac:spMkLst>
            <pc:docMk/>
            <pc:sldMk cId="3663075995" sldId="2147482795"/>
            <ac:spMk id="23" creationId="{C39931C6-E976-4D0B-7E89-28B592576387}"/>
          </ac:spMkLst>
        </pc:spChg>
        <pc:grpChg chg="add mod">
          <ac:chgData name="Oka, Dr. Dennis Kengo (JP)" userId="aeb014c5-2f18-4035-80ba-4d519a44d38a" providerId="ADAL" clId="{20624EAE-7A54-4C0E-8E32-F1D45109832B}" dt="2025-05-14T07:56:02.158" v="6276"/>
          <ac:grpSpMkLst>
            <pc:docMk/>
            <pc:sldMk cId="3663075995" sldId="2147482795"/>
            <ac:grpSpMk id="18" creationId="{5A7EFCD5-FBDD-AC7F-BDBF-B4264836D40A}"/>
          </ac:grpSpMkLst>
        </pc:grpChg>
        <pc:grpChg chg="add mod">
          <ac:chgData name="Oka, Dr. Dennis Kengo (JP)" userId="aeb014c5-2f18-4035-80ba-4d519a44d38a" providerId="ADAL" clId="{20624EAE-7A54-4C0E-8E32-F1D45109832B}" dt="2025-05-14T07:56:02.158" v="6276"/>
          <ac:grpSpMkLst>
            <pc:docMk/>
            <pc:sldMk cId="3663075995" sldId="2147482795"/>
            <ac:grpSpMk id="22" creationId="{60923921-4B42-F26A-E91C-D28482248042}"/>
          </ac:grpSpMkLst>
        </pc:grpChg>
        <pc:picChg chg="mod">
          <ac:chgData name="Oka, Dr. Dennis Kengo (JP)" userId="aeb014c5-2f18-4035-80ba-4d519a44d38a" providerId="ADAL" clId="{20624EAE-7A54-4C0E-8E32-F1D45109832B}" dt="2025-05-14T07:56:02.158" v="6276"/>
          <ac:picMkLst>
            <pc:docMk/>
            <pc:sldMk cId="3663075995" sldId="2147482795"/>
            <ac:picMk id="20" creationId="{2EB6DBB3-4C46-0ABD-700C-B1B345411AEF}"/>
          </ac:picMkLst>
        </pc:picChg>
        <pc:picChg chg="mod">
          <ac:chgData name="Oka, Dr. Dennis Kengo (JP)" userId="aeb014c5-2f18-4035-80ba-4d519a44d38a" providerId="ADAL" clId="{20624EAE-7A54-4C0E-8E32-F1D45109832B}" dt="2025-05-14T07:56:02.158" v="6276"/>
          <ac:picMkLst>
            <pc:docMk/>
            <pc:sldMk cId="3663075995" sldId="2147482795"/>
            <ac:picMk id="24" creationId="{7EB44F0D-0D1E-2B90-B0BE-1407028417FC}"/>
          </ac:picMkLst>
        </pc:picChg>
      </pc:sldChg>
      <pc:sldChg chg="addSp modSp new del mod modShow modNotesTx">
        <pc:chgData name="Oka, Dr. Dennis Kengo (JP)" userId="aeb014c5-2f18-4035-80ba-4d519a44d38a" providerId="ADAL" clId="{20624EAE-7A54-4C0E-8E32-F1D45109832B}" dt="2025-05-14T07:38:11.123" v="5994" actId="47"/>
        <pc:sldMkLst>
          <pc:docMk/>
          <pc:sldMk cId="1882217554" sldId="2147482796"/>
        </pc:sldMkLst>
      </pc:sldChg>
      <pc:sldChg chg="addSp delSp modSp add del mod delAnim modShow modNotesTx">
        <pc:chgData name="Oka, Dr. Dennis Kengo (JP)" userId="aeb014c5-2f18-4035-80ba-4d519a44d38a" providerId="ADAL" clId="{20624EAE-7A54-4C0E-8E32-F1D45109832B}" dt="2025-05-13T15:49:39.229" v="3138" actId="2696"/>
        <pc:sldMkLst>
          <pc:docMk/>
          <pc:sldMk cId="4093143555" sldId="2147482797"/>
        </pc:sldMkLst>
      </pc:sldChg>
      <pc:sldChg chg="add del">
        <pc:chgData name="Oka, Dr. Dennis Kengo (JP)" userId="aeb014c5-2f18-4035-80ba-4d519a44d38a" providerId="ADAL" clId="{20624EAE-7A54-4C0E-8E32-F1D45109832B}" dt="2025-05-02T04:20:44.577" v="1622"/>
        <pc:sldMkLst>
          <pc:docMk/>
          <pc:sldMk cId="673142973" sldId="2147482798"/>
        </pc:sldMkLst>
      </pc:sldChg>
      <pc:sldChg chg="addSp delSp modSp add mod ord modTransition">
        <pc:chgData name="Oka, Dr. Dennis Kengo (JP)" userId="aeb014c5-2f18-4035-80ba-4d519a44d38a" providerId="ADAL" clId="{20624EAE-7A54-4C0E-8E32-F1D45109832B}" dt="2025-05-14T09:03:36.582" v="7658" actId="478"/>
        <pc:sldMkLst>
          <pc:docMk/>
          <pc:sldMk cId="1512448600" sldId="2147482798"/>
        </pc:sldMkLst>
      </pc:sldChg>
      <pc:sldChg chg="add del">
        <pc:chgData name="Oka, Dr. Dennis Kengo (JP)" userId="aeb014c5-2f18-4035-80ba-4d519a44d38a" providerId="ADAL" clId="{20624EAE-7A54-4C0E-8E32-F1D45109832B}" dt="2025-05-02T04:20:48.328" v="1624"/>
        <pc:sldMkLst>
          <pc:docMk/>
          <pc:sldMk cId="2983546710" sldId="2147482798"/>
        </pc:sldMkLst>
      </pc:sldChg>
      <pc:sldChg chg="modSp add mod modNotesTx">
        <pc:chgData name="Oka, Dr. Dennis Kengo (JP)" userId="aeb014c5-2f18-4035-80ba-4d519a44d38a" providerId="ADAL" clId="{20624EAE-7A54-4C0E-8E32-F1D45109832B}" dt="2025-05-14T07:59:12.125" v="6307" actId="207"/>
        <pc:sldMkLst>
          <pc:docMk/>
          <pc:sldMk cId="3422985291" sldId="2147482799"/>
        </pc:sldMkLst>
      </pc:sldChg>
      <pc:sldChg chg="modSp add mod">
        <pc:chgData name="Oka, Dr. Dennis Kengo (JP)" userId="aeb014c5-2f18-4035-80ba-4d519a44d38a" providerId="ADAL" clId="{20624EAE-7A54-4C0E-8E32-F1D45109832B}" dt="2025-05-14T08:49:37.450" v="7489" actId="255"/>
        <pc:sldMkLst>
          <pc:docMk/>
          <pc:sldMk cId="2400759442" sldId="2147482800"/>
        </pc:sldMkLst>
      </pc:sldChg>
      <pc:sldChg chg="modSp add mod modNotesTx">
        <pc:chgData name="Oka, Dr. Dennis Kengo (JP)" userId="aeb014c5-2f18-4035-80ba-4d519a44d38a" providerId="ADAL" clId="{20624EAE-7A54-4C0E-8E32-F1D45109832B}" dt="2025-05-14T09:13:39.581" v="8043" actId="20577"/>
        <pc:sldMkLst>
          <pc:docMk/>
          <pc:sldMk cId="802530175" sldId="2147482801"/>
        </pc:sldMkLst>
      </pc:sldChg>
      <pc:sldChg chg="add del">
        <pc:chgData name="Oka, Dr. Dennis Kengo (JP)" userId="aeb014c5-2f18-4035-80ba-4d519a44d38a" providerId="ADAL" clId="{20624EAE-7A54-4C0E-8E32-F1D45109832B}" dt="2025-05-13T08:12:48.568" v="2996" actId="2696"/>
        <pc:sldMkLst>
          <pc:docMk/>
          <pc:sldMk cId="3923744251" sldId="2147482801"/>
        </pc:sldMkLst>
      </pc:sldChg>
      <pc:sldChg chg="addSp delSp modSp add mod ord">
        <pc:chgData name="Oka, Dr. Dennis Kengo (JP)" userId="aeb014c5-2f18-4035-80ba-4d519a44d38a" providerId="ADAL" clId="{20624EAE-7A54-4C0E-8E32-F1D45109832B}" dt="2025-05-14T09:01:28.038" v="7623"/>
        <pc:sldMkLst>
          <pc:docMk/>
          <pc:sldMk cId="3291569219" sldId="2147482802"/>
        </pc:sldMkLst>
      </pc:sldChg>
      <pc:sldChg chg="modSp new del mod ord">
        <pc:chgData name="Oka, Dr. Dennis Kengo (JP)" userId="aeb014c5-2f18-4035-80ba-4d519a44d38a" providerId="ADAL" clId="{20624EAE-7A54-4C0E-8E32-F1D45109832B}" dt="2025-05-13T05:59:41.492" v="2677" actId="47"/>
        <pc:sldMkLst>
          <pc:docMk/>
          <pc:sldMk cId="3869250618" sldId="2147482803"/>
        </pc:sldMkLst>
      </pc:sldChg>
      <pc:sldChg chg="addSp delSp modSp add del mod modClrScheme chgLayout">
        <pc:chgData name="Oka, Dr. Dennis Kengo (JP)" userId="aeb014c5-2f18-4035-80ba-4d519a44d38a" providerId="ADAL" clId="{20624EAE-7A54-4C0E-8E32-F1D45109832B}" dt="2025-05-14T09:15:58.783" v="8044" actId="2696"/>
        <pc:sldMkLst>
          <pc:docMk/>
          <pc:sldMk cId="1791521219" sldId="2147482804"/>
        </pc:sldMkLst>
      </pc:sldChg>
      <pc:sldChg chg="addSp delSp modSp add mod ord">
        <pc:chgData name="Oka, Dr. Dennis Kengo (JP)" userId="aeb014c5-2f18-4035-80ba-4d519a44d38a" providerId="ADAL" clId="{20624EAE-7A54-4C0E-8E32-F1D45109832B}" dt="2025-05-14T09:02:42.897" v="7653"/>
        <pc:sldMkLst>
          <pc:docMk/>
          <pc:sldMk cId="1911200297" sldId="2147482805"/>
        </pc:sldMkLst>
      </pc:sldChg>
      <pc:sldChg chg="addSp delSp modSp add mod">
        <pc:chgData name="Oka, Dr. Dennis Kengo (JP)" userId="aeb014c5-2f18-4035-80ba-4d519a44d38a" providerId="ADAL" clId="{20624EAE-7A54-4C0E-8E32-F1D45109832B}" dt="2025-05-14T09:02:49.823" v="7654"/>
        <pc:sldMkLst>
          <pc:docMk/>
          <pc:sldMk cId="1967759998" sldId="2147482806"/>
        </pc:sldMkLst>
      </pc:sldChg>
      <pc:sldChg chg="addSp delSp modSp add mod modAnim">
        <pc:chgData name="Oka, Dr. Dennis Kengo (JP)" userId="aeb014c5-2f18-4035-80ba-4d519a44d38a" providerId="ADAL" clId="{20624EAE-7A54-4C0E-8E32-F1D45109832B}" dt="2025-05-14T09:02:07.900" v="7641"/>
        <pc:sldMkLst>
          <pc:docMk/>
          <pc:sldMk cId="3563426801" sldId="2147482816"/>
        </pc:sldMkLst>
      </pc:sldChg>
      <pc:sldChg chg="addSp delSp modSp add del mod modClrScheme modAnim chgLayout">
        <pc:chgData name="Oka, Dr. Dennis Kengo (JP)" userId="aeb014c5-2f18-4035-80ba-4d519a44d38a" providerId="ADAL" clId="{20624EAE-7A54-4C0E-8E32-F1D45109832B}" dt="2025-05-14T09:15:58.783" v="8044" actId="2696"/>
        <pc:sldMkLst>
          <pc:docMk/>
          <pc:sldMk cId="1372980880" sldId="2147482817"/>
        </pc:sldMkLst>
      </pc:sldChg>
      <pc:sldChg chg="delSp modSp add del mod">
        <pc:chgData name="Oka, Dr. Dennis Kengo (JP)" userId="aeb014c5-2f18-4035-80ba-4d519a44d38a" providerId="ADAL" clId="{20624EAE-7A54-4C0E-8E32-F1D45109832B}" dt="2025-05-14T07:59:54.503" v="6311" actId="47"/>
        <pc:sldMkLst>
          <pc:docMk/>
          <pc:sldMk cId="2354813756" sldId="2147482818"/>
        </pc:sldMkLst>
      </pc:sldChg>
      <pc:sldChg chg="addSp delSp modSp new mod modNotesTx">
        <pc:chgData name="Oka, Dr. Dennis Kengo (JP)" userId="aeb014c5-2f18-4035-80ba-4d519a44d38a" providerId="ADAL" clId="{20624EAE-7A54-4C0E-8E32-F1D45109832B}" dt="2025-05-14T08:28:33.244" v="6700" actId="1076"/>
        <pc:sldMkLst>
          <pc:docMk/>
          <pc:sldMk cId="1176644387" sldId="2147482819"/>
        </pc:sldMkLst>
        <pc:spChg chg="mod">
          <ac:chgData name="Oka, Dr. Dennis Kengo (JP)" userId="aeb014c5-2f18-4035-80ba-4d519a44d38a" providerId="ADAL" clId="{20624EAE-7A54-4C0E-8E32-F1D45109832B}" dt="2025-05-14T06:02:33.853" v="5920" actId="20577"/>
          <ac:spMkLst>
            <pc:docMk/>
            <pc:sldMk cId="1176644387" sldId="2147482819"/>
            <ac:spMk id="2" creationId="{D3AC8399-9087-FBAA-45C4-963F9E5E4145}"/>
          </ac:spMkLst>
        </pc:spChg>
        <pc:spChg chg="add mod">
          <ac:chgData name="Oka, Dr. Dennis Kengo (JP)" userId="aeb014c5-2f18-4035-80ba-4d519a44d38a" providerId="ADAL" clId="{20624EAE-7A54-4C0E-8E32-F1D45109832B}" dt="2025-05-14T07:58:26.218" v="6300" actId="207"/>
          <ac:spMkLst>
            <pc:docMk/>
            <pc:sldMk cId="1176644387" sldId="2147482819"/>
            <ac:spMk id="5" creationId="{8245A91F-7561-D027-88C6-FB7574606602}"/>
          </ac:spMkLst>
        </pc:spChg>
        <pc:spChg chg="add mod">
          <ac:chgData name="Oka, Dr. Dennis Kengo (JP)" userId="aeb014c5-2f18-4035-80ba-4d519a44d38a" providerId="ADAL" clId="{20624EAE-7A54-4C0E-8E32-F1D45109832B}" dt="2025-05-14T03:48:04.239" v="5344" actId="20577"/>
          <ac:spMkLst>
            <pc:docMk/>
            <pc:sldMk cId="1176644387" sldId="2147482819"/>
            <ac:spMk id="6" creationId="{6AB2FFA7-72E0-0526-9DFC-5E022ED02A09}"/>
          </ac:spMkLst>
        </pc:spChg>
        <pc:spChg chg="add mod">
          <ac:chgData name="Oka, Dr. Dennis Kengo (JP)" userId="aeb014c5-2f18-4035-80ba-4d519a44d38a" providerId="ADAL" clId="{20624EAE-7A54-4C0E-8E32-F1D45109832B}" dt="2025-05-14T03:46:20.975" v="5296"/>
          <ac:spMkLst>
            <pc:docMk/>
            <pc:sldMk cId="1176644387" sldId="2147482819"/>
            <ac:spMk id="7" creationId="{6CB11EC3-58F9-E057-61FF-03930FF9C101}"/>
          </ac:spMkLst>
        </pc:spChg>
        <pc:spChg chg="add mod">
          <ac:chgData name="Oka, Dr. Dennis Kengo (JP)" userId="aeb014c5-2f18-4035-80ba-4d519a44d38a" providerId="ADAL" clId="{20624EAE-7A54-4C0E-8E32-F1D45109832B}" dt="2025-05-14T07:50:15.058" v="6150" actId="693"/>
          <ac:spMkLst>
            <pc:docMk/>
            <pc:sldMk cId="1176644387" sldId="2147482819"/>
            <ac:spMk id="19" creationId="{F835416F-E224-0F27-89E5-E3FCADD48B31}"/>
          </ac:spMkLst>
        </pc:spChg>
        <pc:spChg chg="mod">
          <ac:chgData name="Oka, Dr. Dennis Kengo (JP)" userId="aeb014c5-2f18-4035-80ba-4d519a44d38a" providerId="ADAL" clId="{20624EAE-7A54-4C0E-8E32-F1D45109832B}" dt="2025-05-14T07:51:05.691" v="6164" actId="1038"/>
          <ac:spMkLst>
            <pc:docMk/>
            <pc:sldMk cId="1176644387" sldId="2147482819"/>
            <ac:spMk id="20" creationId="{F00DA67E-5882-9FE7-1F50-EA79268FED96}"/>
          </ac:spMkLst>
        </pc:spChg>
        <pc:spChg chg="add mod">
          <ac:chgData name="Oka, Dr. Dennis Kengo (JP)" userId="aeb014c5-2f18-4035-80ba-4d519a44d38a" providerId="ADAL" clId="{20624EAE-7A54-4C0E-8E32-F1D45109832B}" dt="2025-05-14T08:28:33.244" v="6700" actId="1076"/>
          <ac:spMkLst>
            <pc:docMk/>
            <pc:sldMk cId="1176644387" sldId="2147482819"/>
            <ac:spMk id="21" creationId="{2FA8B656-2B1B-CEF6-7269-87D0CD6E55F6}"/>
          </ac:spMkLst>
        </pc:spChg>
        <pc:graphicFrameChg chg="add mod topLvl modGraphic">
          <ac:chgData name="Oka, Dr. Dennis Kengo (JP)" userId="aeb014c5-2f18-4035-80ba-4d519a44d38a" providerId="ADAL" clId="{20624EAE-7A54-4C0E-8E32-F1D45109832B}" dt="2025-05-14T06:03:03.321" v="5993" actId="255"/>
          <ac:graphicFrameMkLst>
            <pc:docMk/>
            <pc:sldMk cId="1176644387" sldId="2147482819"/>
            <ac:graphicFrameMk id="10" creationId="{4E3C06C0-FAE9-A6DC-7CA0-AD56A1ED5F22}"/>
          </ac:graphicFrameMkLst>
        </pc:graphicFrameChg>
      </pc:sldChg>
      <pc:sldChg chg="add del">
        <pc:chgData name="Oka, Dr. Dennis Kengo (JP)" userId="aeb014c5-2f18-4035-80ba-4d519a44d38a" providerId="ADAL" clId="{20624EAE-7A54-4C0E-8E32-F1D45109832B}" dt="2025-05-13T16:15:10.023" v="3651" actId="47"/>
        <pc:sldMkLst>
          <pc:docMk/>
          <pc:sldMk cId="3711805917" sldId="2147482820"/>
        </pc:sldMkLst>
      </pc:sldChg>
      <pc:sldChg chg="addSp delSp modSp add mod modTransition setBg">
        <pc:chgData name="Oka, Dr. Dennis Kengo (JP)" userId="aeb014c5-2f18-4035-80ba-4d519a44d38a" providerId="ADAL" clId="{20624EAE-7A54-4C0E-8E32-F1D45109832B}" dt="2025-05-14T09:00:09.796" v="7609" actId="207"/>
        <pc:sldMkLst>
          <pc:docMk/>
          <pc:sldMk cId="3406843047" sldId="2147482821"/>
        </pc:sldMkLst>
        <pc:spChg chg="add mod">
          <ac:chgData name="Oka, Dr. Dennis Kengo (JP)" userId="aeb014c5-2f18-4035-80ba-4d519a44d38a" providerId="ADAL" clId="{20624EAE-7A54-4C0E-8E32-F1D45109832B}" dt="2025-05-13T16:03:50.017" v="3392" actId="1076"/>
          <ac:spMkLst>
            <pc:docMk/>
            <pc:sldMk cId="3406843047" sldId="2147482821"/>
            <ac:spMk id="2" creationId="{2E19D08E-2534-9319-826E-FE628DFCB339}"/>
          </ac:spMkLst>
        </pc:spChg>
        <pc:spChg chg="mod">
          <ac:chgData name="Oka, Dr. Dennis Kengo (JP)" userId="aeb014c5-2f18-4035-80ba-4d519a44d38a" providerId="ADAL" clId="{20624EAE-7A54-4C0E-8E32-F1D45109832B}" dt="2025-05-13T16:15:02.730" v="3649" actId="20577"/>
          <ac:spMkLst>
            <pc:docMk/>
            <pc:sldMk cId="3406843047" sldId="2147482821"/>
            <ac:spMk id="6" creationId="{8D69834B-7B7B-127E-E410-BE695B82B838}"/>
          </ac:spMkLst>
        </pc:spChg>
        <pc:spChg chg="add mod">
          <ac:chgData name="Oka, Dr. Dennis Kengo (JP)" userId="aeb014c5-2f18-4035-80ba-4d519a44d38a" providerId="ADAL" clId="{20624EAE-7A54-4C0E-8E32-F1D45109832B}" dt="2025-05-13T16:09:49.356" v="3471" actId="1076"/>
          <ac:spMkLst>
            <pc:docMk/>
            <pc:sldMk cId="3406843047" sldId="2147482821"/>
            <ac:spMk id="12" creationId="{BD9D4D78-D888-0304-6018-D4CB84C23B7D}"/>
          </ac:spMkLst>
        </pc:spChg>
        <pc:spChg chg="add mod">
          <ac:chgData name="Oka, Dr. Dennis Kengo (JP)" userId="aeb014c5-2f18-4035-80ba-4d519a44d38a" providerId="ADAL" clId="{20624EAE-7A54-4C0E-8E32-F1D45109832B}" dt="2025-05-13T16:03:50.017" v="3392" actId="1076"/>
          <ac:spMkLst>
            <pc:docMk/>
            <pc:sldMk cId="3406843047" sldId="2147482821"/>
            <ac:spMk id="14" creationId="{48C7F8C8-1C52-FE74-49EF-1368566241C7}"/>
          </ac:spMkLst>
        </pc:spChg>
        <pc:spChg chg="mod">
          <ac:chgData name="Oka, Dr. Dennis Kengo (JP)" userId="aeb014c5-2f18-4035-80ba-4d519a44d38a" providerId="ADAL" clId="{20624EAE-7A54-4C0E-8E32-F1D45109832B}" dt="2025-05-13T16:14:05.570" v="3646"/>
          <ac:spMkLst>
            <pc:docMk/>
            <pc:sldMk cId="3406843047" sldId="2147482821"/>
            <ac:spMk id="16" creationId="{871F127D-D2A5-DDDC-951D-ADEB7D2989CF}"/>
          </ac:spMkLst>
        </pc:spChg>
        <pc:spChg chg="mod">
          <ac:chgData name="Oka, Dr. Dennis Kengo (JP)" userId="aeb014c5-2f18-4035-80ba-4d519a44d38a" providerId="ADAL" clId="{20624EAE-7A54-4C0E-8E32-F1D45109832B}" dt="2025-05-13T16:14:01.232" v="3643"/>
          <ac:spMkLst>
            <pc:docMk/>
            <pc:sldMk cId="3406843047" sldId="2147482821"/>
            <ac:spMk id="25" creationId="{E333BCD4-074F-5EA7-7293-687C09BC96E8}"/>
          </ac:spMkLst>
        </pc:spChg>
        <pc:spChg chg="mod topLvl">
          <ac:chgData name="Oka, Dr. Dennis Kengo (JP)" userId="aeb014c5-2f18-4035-80ba-4d519a44d38a" providerId="ADAL" clId="{20624EAE-7A54-4C0E-8E32-F1D45109832B}" dt="2025-05-13T16:10:37.137" v="3543" actId="165"/>
          <ac:spMkLst>
            <pc:docMk/>
            <pc:sldMk cId="3406843047" sldId="2147482821"/>
            <ac:spMk id="28" creationId="{9FB36B85-D0B4-AFDB-0CEB-D23863C4BDF4}"/>
          </ac:spMkLst>
        </pc:spChg>
        <pc:spChg chg="mod topLvl">
          <ac:chgData name="Oka, Dr. Dennis Kengo (JP)" userId="aeb014c5-2f18-4035-80ba-4d519a44d38a" providerId="ADAL" clId="{20624EAE-7A54-4C0E-8E32-F1D45109832B}" dt="2025-05-13T16:11:06.415" v="3566" actId="165"/>
          <ac:spMkLst>
            <pc:docMk/>
            <pc:sldMk cId="3406843047" sldId="2147482821"/>
            <ac:spMk id="31" creationId="{0D705486-3AA6-3B2A-466F-1AC62F64FE70}"/>
          </ac:spMkLst>
        </pc:spChg>
        <pc:spChg chg="add mod">
          <ac:chgData name="Oka, Dr. Dennis Kengo (JP)" userId="aeb014c5-2f18-4035-80ba-4d519a44d38a" providerId="ADAL" clId="{20624EAE-7A54-4C0E-8E32-F1D45109832B}" dt="2025-05-13T16:12:03.101" v="3584" actId="14100"/>
          <ac:spMkLst>
            <pc:docMk/>
            <pc:sldMk cId="3406843047" sldId="2147482821"/>
            <ac:spMk id="34" creationId="{9E92D19F-B8EE-26A2-5661-B629BAEE8A56}"/>
          </ac:spMkLst>
        </pc:spChg>
        <pc:spChg chg="add mod">
          <ac:chgData name="Oka, Dr. Dennis Kengo (JP)" userId="aeb014c5-2f18-4035-80ba-4d519a44d38a" providerId="ADAL" clId="{20624EAE-7A54-4C0E-8E32-F1D45109832B}" dt="2025-05-13T16:11:48.418" v="3580" actId="20577"/>
          <ac:spMkLst>
            <pc:docMk/>
            <pc:sldMk cId="3406843047" sldId="2147482821"/>
            <ac:spMk id="35" creationId="{0275BC4F-484E-B945-A8CF-5225AC1D6787}"/>
          </ac:spMkLst>
        </pc:spChg>
        <pc:spChg chg="mod">
          <ac:chgData name="Oka, Dr. Dennis Kengo (JP)" userId="aeb014c5-2f18-4035-80ba-4d519a44d38a" providerId="ADAL" clId="{20624EAE-7A54-4C0E-8E32-F1D45109832B}" dt="2025-05-13T16:10:53.906" v="3556" actId="1076"/>
          <ac:spMkLst>
            <pc:docMk/>
            <pc:sldMk cId="3406843047" sldId="2147482821"/>
            <ac:spMk id="61" creationId="{D220D119-DEBC-F39A-90B3-422B6A6980A9}"/>
          </ac:spMkLst>
        </pc:spChg>
        <pc:spChg chg="mod">
          <ac:chgData name="Oka, Dr. Dennis Kengo (JP)" userId="aeb014c5-2f18-4035-80ba-4d519a44d38a" providerId="ADAL" clId="{20624EAE-7A54-4C0E-8E32-F1D45109832B}" dt="2025-05-13T16:13:46.625" v="3633" actId="1038"/>
          <ac:spMkLst>
            <pc:docMk/>
            <pc:sldMk cId="3406843047" sldId="2147482821"/>
            <ac:spMk id="64" creationId="{DC758263-399B-0F43-F265-DC55846C2B93}"/>
          </ac:spMkLst>
        </pc:spChg>
        <pc:spChg chg="add mod">
          <ac:chgData name="Oka, Dr. Dennis Kengo (JP)" userId="aeb014c5-2f18-4035-80ba-4d519a44d38a" providerId="ADAL" clId="{20624EAE-7A54-4C0E-8E32-F1D45109832B}" dt="2025-05-13T16:13:31.951" v="3624"/>
          <ac:spMkLst>
            <pc:docMk/>
            <pc:sldMk cId="3406843047" sldId="2147482821"/>
            <ac:spMk id="66" creationId="{3B7C272C-1A54-1548-9017-9098AFFF6080}"/>
          </ac:spMkLst>
        </pc:spChg>
        <pc:spChg chg="add mod">
          <ac:chgData name="Oka, Dr. Dennis Kengo (JP)" userId="aeb014c5-2f18-4035-80ba-4d519a44d38a" providerId="ADAL" clId="{20624EAE-7A54-4C0E-8E32-F1D45109832B}" dt="2025-05-13T16:13:54.364" v="3636" actId="1037"/>
          <ac:spMkLst>
            <pc:docMk/>
            <pc:sldMk cId="3406843047" sldId="2147482821"/>
            <ac:spMk id="68" creationId="{BBA500B4-C4DC-3636-900B-B27361F601BF}"/>
          </ac:spMkLst>
        </pc:spChg>
        <pc:spChg chg="mod">
          <ac:chgData name="Oka, Dr. Dennis Kengo (JP)" userId="aeb014c5-2f18-4035-80ba-4d519a44d38a" providerId="ADAL" clId="{20624EAE-7A54-4C0E-8E32-F1D45109832B}" dt="2025-05-13T16:13:59.442" v="3640" actId="1037"/>
          <ac:spMkLst>
            <pc:docMk/>
            <pc:sldMk cId="3406843047" sldId="2147482821"/>
            <ac:spMk id="70" creationId="{A5646FDB-4DCD-6FFD-6B09-FEF7448B42B8}"/>
          </ac:spMkLst>
        </pc:spChg>
        <pc:spChg chg="add mod ord">
          <ac:chgData name="Oka, Dr. Dennis Kengo (JP)" userId="aeb014c5-2f18-4035-80ba-4d519a44d38a" providerId="ADAL" clId="{20624EAE-7A54-4C0E-8E32-F1D45109832B}" dt="2025-05-14T09:00:09.796" v="7609" actId="207"/>
          <ac:spMkLst>
            <pc:docMk/>
            <pc:sldMk cId="3406843047" sldId="2147482821"/>
            <ac:spMk id="73" creationId="{9DD2BAC5-1AED-3FA2-7900-E1A1C7FC7D41}"/>
          </ac:spMkLst>
        </pc:spChg>
        <pc:grpChg chg="mod">
          <ac:chgData name="Oka, Dr. Dennis Kengo (JP)" userId="aeb014c5-2f18-4035-80ba-4d519a44d38a" providerId="ADAL" clId="{20624EAE-7A54-4C0E-8E32-F1D45109832B}" dt="2025-05-13T16:14:05.570" v="3644"/>
          <ac:grpSpMkLst>
            <pc:docMk/>
            <pc:sldMk cId="3406843047" sldId="2147482821"/>
            <ac:grpSpMk id="15" creationId="{DA3A7A5D-4B72-D0BE-EADC-879CE36C2F8D}"/>
          </ac:grpSpMkLst>
        </pc:grpChg>
        <pc:grpChg chg="mod">
          <ac:chgData name="Oka, Dr. Dennis Kengo (JP)" userId="aeb014c5-2f18-4035-80ba-4d519a44d38a" providerId="ADAL" clId="{20624EAE-7A54-4C0E-8E32-F1D45109832B}" dt="2025-05-13T16:14:01.232" v="3641"/>
          <ac:grpSpMkLst>
            <pc:docMk/>
            <pc:sldMk cId="3406843047" sldId="2147482821"/>
            <ac:grpSpMk id="24" creationId="{7C92BCAF-4C1D-54B7-2551-089F03C4FA40}"/>
          </ac:grpSpMkLst>
        </pc:grpChg>
        <pc:grpChg chg="add mod">
          <ac:chgData name="Oka, Dr. Dennis Kengo (JP)" userId="aeb014c5-2f18-4035-80ba-4d519a44d38a" providerId="ADAL" clId="{20624EAE-7A54-4C0E-8E32-F1D45109832B}" dt="2025-05-13T16:10:53.906" v="3556" actId="1076"/>
          <ac:grpSpMkLst>
            <pc:docMk/>
            <pc:sldMk cId="3406843047" sldId="2147482821"/>
            <ac:grpSpMk id="60" creationId="{86EC63FD-0729-0A91-0569-658186DDA9E6}"/>
          </ac:grpSpMkLst>
        </pc:grpChg>
        <pc:grpChg chg="add mod">
          <ac:chgData name="Oka, Dr. Dennis Kengo (JP)" userId="aeb014c5-2f18-4035-80ba-4d519a44d38a" providerId="ADAL" clId="{20624EAE-7A54-4C0E-8E32-F1D45109832B}" dt="2025-05-13T16:13:46.625" v="3633" actId="1038"/>
          <ac:grpSpMkLst>
            <pc:docMk/>
            <pc:sldMk cId="3406843047" sldId="2147482821"/>
            <ac:grpSpMk id="63" creationId="{260F8D15-776A-541B-D31C-748368D288C3}"/>
          </ac:grpSpMkLst>
        </pc:grpChg>
        <pc:grpChg chg="add mod">
          <ac:chgData name="Oka, Dr. Dennis Kengo (JP)" userId="aeb014c5-2f18-4035-80ba-4d519a44d38a" providerId="ADAL" clId="{20624EAE-7A54-4C0E-8E32-F1D45109832B}" dt="2025-05-13T16:13:59.442" v="3640" actId="1037"/>
          <ac:grpSpMkLst>
            <pc:docMk/>
            <pc:sldMk cId="3406843047" sldId="2147482821"/>
            <ac:grpSpMk id="69" creationId="{B440D0AF-4FB9-C126-E729-E0AF57DC7B59}"/>
          </ac:grpSpMkLst>
        </pc:grpChg>
        <pc:picChg chg="mod">
          <ac:chgData name="Oka, Dr. Dennis Kengo (JP)" userId="aeb014c5-2f18-4035-80ba-4d519a44d38a" providerId="ADAL" clId="{20624EAE-7A54-4C0E-8E32-F1D45109832B}" dt="2025-05-13T16:14:05.570" v="3645"/>
          <ac:picMkLst>
            <pc:docMk/>
            <pc:sldMk cId="3406843047" sldId="2147482821"/>
            <ac:picMk id="17" creationId="{F2D7D2A4-A68F-48F7-8156-60F9F65EE801}"/>
          </ac:picMkLst>
        </pc:picChg>
        <pc:picChg chg="mod">
          <ac:chgData name="Oka, Dr. Dennis Kengo (JP)" userId="aeb014c5-2f18-4035-80ba-4d519a44d38a" providerId="ADAL" clId="{20624EAE-7A54-4C0E-8E32-F1D45109832B}" dt="2025-05-13T16:14:01.232" v="3642"/>
          <ac:picMkLst>
            <pc:docMk/>
            <pc:sldMk cId="3406843047" sldId="2147482821"/>
            <ac:picMk id="26" creationId="{7DCF527D-306A-A04F-6578-855018835952}"/>
          </ac:picMkLst>
        </pc:picChg>
        <pc:picChg chg="mod">
          <ac:chgData name="Oka, Dr. Dennis Kengo (JP)" userId="aeb014c5-2f18-4035-80ba-4d519a44d38a" providerId="ADAL" clId="{20624EAE-7A54-4C0E-8E32-F1D45109832B}" dt="2025-05-13T16:10:53.906" v="3556" actId="1076"/>
          <ac:picMkLst>
            <pc:docMk/>
            <pc:sldMk cId="3406843047" sldId="2147482821"/>
            <ac:picMk id="62" creationId="{48458DAE-7531-3015-83E3-CD6849635D53}"/>
          </ac:picMkLst>
        </pc:picChg>
        <pc:picChg chg="mod">
          <ac:chgData name="Oka, Dr. Dennis Kengo (JP)" userId="aeb014c5-2f18-4035-80ba-4d519a44d38a" providerId="ADAL" clId="{20624EAE-7A54-4C0E-8E32-F1D45109832B}" dt="2025-05-13T16:13:46.625" v="3633" actId="1038"/>
          <ac:picMkLst>
            <pc:docMk/>
            <pc:sldMk cId="3406843047" sldId="2147482821"/>
            <ac:picMk id="65" creationId="{B821C6A4-0704-B82C-1B43-53358D7475EE}"/>
          </ac:picMkLst>
        </pc:picChg>
        <pc:picChg chg="mod">
          <ac:chgData name="Oka, Dr. Dennis Kengo (JP)" userId="aeb014c5-2f18-4035-80ba-4d519a44d38a" providerId="ADAL" clId="{20624EAE-7A54-4C0E-8E32-F1D45109832B}" dt="2025-05-13T16:13:59.442" v="3640" actId="1037"/>
          <ac:picMkLst>
            <pc:docMk/>
            <pc:sldMk cId="3406843047" sldId="2147482821"/>
            <ac:picMk id="71" creationId="{0ECA31E5-9183-C3B0-FD9B-8686376CE162}"/>
          </ac:picMkLst>
        </pc:picChg>
        <pc:cxnChg chg="add mod">
          <ac:chgData name="Oka, Dr. Dennis Kengo (JP)" userId="aeb014c5-2f18-4035-80ba-4d519a44d38a" providerId="ADAL" clId="{20624EAE-7A54-4C0E-8E32-F1D45109832B}" dt="2025-05-13T16:04:04.372" v="3394" actId="1076"/>
          <ac:cxnSpMkLst>
            <pc:docMk/>
            <pc:sldMk cId="3406843047" sldId="2147482821"/>
            <ac:cxnSpMk id="36" creationId="{0323B0AE-8F25-0ACE-D192-4A3E9E3D8C60}"/>
          </ac:cxnSpMkLst>
        </pc:cxnChg>
        <pc:cxnChg chg="add mod">
          <ac:chgData name="Oka, Dr. Dennis Kengo (JP)" userId="aeb014c5-2f18-4035-80ba-4d519a44d38a" providerId="ADAL" clId="{20624EAE-7A54-4C0E-8E32-F1D45109832B}" dt="2025-05-13T16:04:28.786" v="3396" actId="1076"/>
          <ac:cxnSpMkLst>
            <pc:docMk/>
            <pc:sldMk cId="3406843047" sldId="2147482821"/>
            <ac:cxnSpMk id="37" creationId="{E5E0FE72-74A0-9E9A-3665-E85222C24BBC}"/>
          </ac:cxnSpMkLst>
        </pc:cxnChg>
        <pc:cxnChg chg="add mod">
          <ac:chgData name="Oka, Dr. Dennis Kengo (JP)" userId="aeb014c5-2f18-4035-80ba-4d519a44d38a" providerId="ADAL" clId="{20624EAE-7A54-4C0E-8E32-F1D45109832B}" dt="2025-05-13T16:09:28.915" v="3465" actId="1076"/>
          <ac:cxnSpMkLst>
            <pc:docMk/>
            <pc:sldMk cId="3406843047" sldId="2147482821"/>
            <ac:cxnSpMk id="38" creationId="{478A709C-153E-112D-4C25-D9184B1B5DD8}"/>
          </ac:cxnSpMkLst>
        </pc:cxnChg>
        <pc:cxnChg chg="add mod">
          <ac:chgData name="Oka, Dr. Dennis Kengo (JP)" userId="aeb014c5-2f18-4035-80ba-4d519a44d38a" providerId="ADAL" clId="{20624EAE-7A54-4C0E-8E32-F1D45109832B}" dt="2025-05-13T16:04:28.786" v="3396" actId="1076"/>
          <ac:cxnSpMkLst>
            <pc:docMk/>
            <pc:sldMk cId="3406843047" sldId="2147482821"/>
            <ac:cxnSpMk id="39" creationId="{FBE1D67E-4DCD-9C90-C59A-0FD48E81CD21}"/>
          </ac:cxnSpMkLst>
        </pc:cxnChg>
        <pc:cxnChg chg="add mod">
          <ac:chgData name="Oka, Dr. Dennis Kengo (JP)" userId="aeb014c5-2f18-4035-80ba-4d519a44d38a" providerId="ADAL" clId="{20624EAE-7A54-4C0E-8E32-F1D45109832B}" dt="2025-05-13T16:04:39.977" v="3399" actId="571"/>
          <ac:cxnSpMkLst>
            <pc:docMk/>
            <pc:sldMk cId="3406843047" sldId="2147482821"/>
            <ac:cxnSpMk id="42" creationId="{F7472BEC-4E60-2890-6F38-35738E151C62}"/>
          </ac:cxnSpMkLst>
        </pc:cxnChg>
      </pc:sldChg>
      <pc:sldChg chg="addSp modSp add del mod">
        <pc:chgData name="Oka, Dr. Dennis Kengo (JP)" userId="aeb014c5-2f18-4035-80ba-4d519a44d38a" providerId="ADAL" clId="{20624EAE-7A54-4C0E-8E32-F1D45109832B}" dt="2025-05-14T08:14:37.337" v="6521" actId="47"/>
        <pc:sldMkLst>
          <pc:docMk/>
          <pc:sldMk cId="3415248338" sldId="2147482822"/>
        </pc:sldMkLst>
      </pc:sldChg>
      <pc:sldChg chg="modSp add del mod">
        <pc:chgData name="Oka, Dr. Dennis Kengo (JP)" userId="aeb014c5-2f18-4035-80ba-4d519a44d38a" providerId="ADAL" clId="{20624EAE-7A54-4C0E-8E32-F1D45109832B}" dt="2025-05-14T08:14:46.469" v="6525" actId="47"/>
        <pc:sldMkLst>
          <pc:docMk/>
          <pc:sldMk cId="2183551721" sldId="2147482823"/>
        </pc:sldMkLst>
      </pc:sldChg>
      <pc:sldChg chg="addSp delSp modSp add del mod modAnim modNotesTx">
        <pc:chgData name="Oka, Dr. Dennis Kengo (JP)" userId="aeb014c5-2f18-4035-80ba-4d519a44d38a" providerId="ADAL" clId="{20624EAE-7A54-4C0E-8E32-F1D45109832B}" dt="2025-05-13T16:46:42.164" v="4021" actId="47"/>
        <pc:sldMkLst>
          <pc:docMk/>
          <pc:sldMk cId="2088542482" sldId="2147482824"/>
        </pc:sldMkLst>
      </pc:sldChg>
      <pc:sldChg chg="delSp modSp add del mod">
        <pc:chgData name="Oka, Dr. Dennis Kengo (JP)" userId="aeb014c5-2f18-4035-80ba-4d519a44d38a" providerId="ADAL" clId="{20624EAE-7A54-4C0E-8E32-F1D45109832B}" dt="2025-05-13T17:22:13.770" v="4673" actId="47"/>
        <pc:sldMkLst>
          <pc:docMk/>
          <pc:sldMk cId="2137151512" sldId="2147482824"/>
        </pc:sldMkLst>
      </pc:sldChg>
      <pc:sldChg chg="add del">
        <pc:chgData name="Oka, Dr. Dennis Kengo (JP)" userId="aeb014c5-2f18-4035-80ba-4d519a44d38a" providerId="ADAL" clId="{20624EAE-7A54-4C0E-8E32-F1D45109832B}" dt="2025-05-13T16:46:34.635" v="4020" actId="47"/>
        <pc:sldMkLst>
          <pc:docMk/>
          <pc:sldMk cId="2087002919" sldId="2147482825"/>
        </pc:sldMkLst>
      </pc:sldChg>
      <pc:sldChg chg="addSp delSp modSp new mod modClrScheme chgLayout modNotesTx">
        <pc:chgData name="Oka, Dr. Dennis Kengo (JP)" userId="aeb014c5-2f18-4035-80ba-4d519a44d38a" providerId="ADAL" clId="{20624EAE-7A54-4C0E-8E32-F1D45109832B}" dt="2025-05-14T09:18:25.023" v="8045" actId="20577"/>
        <pc:sldMkLst>
          <pc:docMk/>
          <pc:sldMk cId="3377770029" sldId="2147482825"/>
        </pc:sldMkLst>
      </pc:sldChg>
      <pc:sldChg chg="add del">
        <pc:chgData name="Oka, Dr. Dennis Kengo (JP)" userId="aeb014c5-2f18-4035-80ba-4d519a44d38a" providerId="ADAL" clId="{20624EAE-7A54-4C0E-8E32-F1D45109832B}" dt="2025-05-13T17:31:39.010" v="4854" actId="47"/>
        <pc:sldMkLst>
          <pc:docMk/>
          <pc:sldMk cId="688072794" sldId="2147482826"/>
        </pc:sldMkLst>
      </pc:sldChg>
      <pc:sldChg chg="addSp modSp add mod ord">
        <pc:chgData name="Oka, Dr. Dennis Kengo (JP)" userId="aeb014c5-2f18-4035-80ba-4d519a44d38a" providerId="ADAL" clId="{20624EAE-7A54-4C0E-8E32-F1D45109832B}" dt="2025-05-14T08:57:44.420" v="7595" actId="1076"/>
        <pc:sldMkLst>
          <pc:docMk/>
          <pc:sldMk cId="2290823227" sldId="2147482826"/>
        </pc:sldMkLst>
        <pc:spChg chg="mod">
          <ac:chgData name="Oka, Dr. Dennis Kengo (JP)" userId="aeb014c5-2f18-4035-80ba-4d519a44d38a" providerId="ADAL" clId="{20624EAE-7A54-4C0E-8E32-F1D45109832B}" dt="2025-05-14T05:38:53.965" v="5738" actId="20577"/>
          <ac:spMkLst>
            <pc:docMk/>
            <pc:sldMk cId="2290823227" sldId="2147482826"/>
            <ac:spMk id="2" creationId="{31EAFB28-FCEB-C951-A95B-BB7DAAC57887}"/>
          </ac:spMkLst>
        </pc:spChg>
        <pc:spChg chg="mod">
          <ac:chgData name="Oka, Dr. Dennis Kengo (JP)" userId="aeb014c5-2f18-4035-80ba-4d519a44d38a" providerId="ADAL" clId="{20624EAE-7A54-4C0E-8E32-F1D45109832B}" dt="2025-05-14T07:58:19.946" v="6299" actId="207"/>
          <ac:spMkLst>
            <pc:docMk/>
            <pc:sldMk cId="2290823227" sldId="2147482826"/>
            <ac:spMk id="5" creationId="{29E40025-DE49-9A78-AC10-91F5BC17F137}"/>
          </ac:spMkLst>
        </pc:spChg>
        <pc:spChg chg="add mod">
          <ac:chgData name="Oka, Dr. Dennis Kengo (JP)" userId="aeb014c5-2f18-4035-80ba-4d519a44d38a" providerId="ADAL" clId="{20624EAE-7A54-4C0E-8E32-F1D45109832B}" dt="2025-05-14T08:57:44.420" v="7595" actId="1076"/>
          <ac:spMkLst>
            <pc:docMk/>
            <pc:sldMk cId="2290823227" sldId="2147482826"/>
            <ac:spMk id="13" creationId="{6E276AC9-90A5-0851-1A2D-EE27B6A2B856}"/>
          </ac:spMkLst>
        </pc:spChg>
        <pc:spChg chg="add mod">
          <ac:chgData name="Oka, Dr. Dennis Kengo (JP)" userId="aeb014c5-2f18-4035-80ba-4d519a44d38a" providerId="ADAL" clId="{20624EAE-7A54-4C0E-8E32-F1D45109832B}" dt="2025-05-14T08:57:41.153" v="7594" actId="1076"/>
          <ac:spMkLst>
            <pc:docMk/>
            <pc:sldMk cId="2290823227" sldId="2147482826"/>
            <ac:spMk id="14" creationId="{39C462C7-E897-48FB-7339-2D5B94696ABA}"/>
          </ac:spMkLst>
        </pc:spChg>
        <pc:graphicFrameChg chg="mod">
          <ac:chgData name="Oka, Dr. Dennis Kengo (JP)" userId="aeb014c5-2f18-4035-80ba-4d519a44d38a" providerId="ADAL" clId="{20624EAE-7A54-4C0E-8E32-F1D45109832B}" dt="2025-05-14T07:40:42.418" v="6019"/>
          <ac:graphicFrameMkLst>
            <pc:docMk/>
            <pc:sldMk cId="2290823227" sldId="2147482826"/>
            <ac:graphicFrameMk id="10" creationId="{ED8907BE-AA6A-D5B9-9081-2F42D4E36D1C}"/>
          </ac:graphicFrameMkLst>
        </pc:graphicFrameChg>
      </pc:sldChg>
      <pc:sldChg chg="modSp add del mod">
        <pc:chgData name="Oka, Dr. Dennis Kengo (JP)" userId="aeb014c5-2f18-4035-80ba-4d519a44d38a" providerId="ADAL" clId="{20624EAE-7A54-4C0E-8E32-F1D45109832B}" dt="2025-05-14T08:49:48.570" v="7491" actId="47"/>
        <pc:sldMkLst>
          <pc:docMk/>
          <pc:sldMk cId="3493375921" sldId="2147482827"/>
        </pc:sldMkLst>
      </pc:sldChg>
      <pc:sldChg chg="add del">
        <pc:chgData name="Oka, Dr. Dennis Kengo (JP)" userId="aeb014c5-2f18-4035-80ba-4d519a44d38a" providerId="ADAL" clId="{20624EAE-7A54-4C0E-8E32-F1D45109832B}" dt="2025-05-14T07:58:40.705" v="6302" actId="47"/>
        <pc:sldMkLst>
          <pc:docMk/>
          <pc:sldMk cId="3857741709" sldId="2147482827"/>
        </pc:sldMkLst>
      </pc:sldChg>
      <pc:sldChg chg="add del">
        <pc:chgData name="Oka, Dr. Dennis Kengo (JP)" userId="aeb014c5-2f18-4035-80ba-4d519a44d38a" providerId="ADAL" clId="{20624EAE-7A54-4C0E-8E32-F1D45109832B}" dt="2025-05-14T07:59:07.521" v="6306" actId="47"/>
        <pc:sldMkLst>
          <pc:docMk/>
          <pc:sldMk cId="1057880710" sldId="2147482828"/>
        </pc:sldMkLst>
      </pc:sldChg>
      <pc:sldChg chg="addSp delSp modSp add mod">
        <pc:chgData name="Oka, Dr. Dennis Kengo (JP)" userId="aeb014c5-2f18-4035-80ba-4d519a44d38a" providerId="ADAL" clId="{20624EAE-7A54-4C0E-8E32-F1D45109832B}" dt="2025-05-14T09:01:40.566" v="7629"/>
        <pc:sldMkLst>
          <pc:docMk/>
          <pc:sldMk cId="3608856435" sldId="2147482828"/>
        </pc:sldMkLst>
      </pc:sldChg>
      <pc:sldChg chg="addSp delSp modSp add mod">
        <pc:chgData name="Oka, Dr. Dennis Kengo (JP)" userId="aeb014c5-2f18-4035-80ba-4d519a44d38a" providerId="ADAL" clId="{20624EAE-7A54-4C0E-8E32-F1D45109832B}" dt="2025-05-14T09:01:59.675" v="7637"/>
        <pc:sldMkLst>
          <pc:docMk/>
          <pc:sldMk cId="2589387682" sldId="2147482829"/>
        </pc:sldMkLst>
      </pc:sldChg>
      <pc:sldChg chg="addSp delSp modSp add mod">
        <pc:chgData name="Oka, Dr. Dennis Kengo (JP)" userId="aeb014c5-2f18-4035-80ba-4d519a44d38a" providerId="ADAL" clId="{20624EAE-7A54-4C0E-8E32-F1D45109832B}" dt="2025-05-14T09:02:39.274" v="7652"/>
        <pc:sldMkLst>
          <pc:docMk/>
          <pc:sldMk cId="1729448853" sldId="2147482830"/>
        </pc:sldMkLst>
      </pc:sldChg>
      <pc:sldChg chg="addSp delSp modSp new mod">
        <pc:chgData name="Oka, Dr. Dennis Kengo (JP)" userId="aeb014c5-2f18-4035-80ba-4d519a44d38a" providerId="ADAL" clId="{20624EAE-7A54-4C0E-8E32-F1D45109832B}" dt="2025-05-14T09:02:16.058" v="7645"/>
        <pc:sldMkLst>
          <pc:docMk/>
          <pc:sldMk cId="1027660809" sldId="2147482831"/>
        </pc:sldMkLst>
        <pc:spChg chg="mod">
          <ac:chgData name="Oka, Dr. Dennis Kengo (JP)" userId="aeb014c5-2f18-4035-80ba-4d519a44d38a" providerId="ADAL" clId="{20624EAE-7A54-4C0E-8E32-F1D45109832B}" dt="2025-05-14T08:32:28.237" v="6719" actId="20577"/>
          <ac:spMkLst>
            <pc:docMk/>
            <pc:sldMk cId="1027660809" sldId="2147482831"/>
            <ac:spMk id="2" creationId="{62780852-4501-1F16-56F1-5B51746C2C02}"/>
          </ac:spMkLst>
        </pc:spChg>
        <pc:spChg chg="mod">
          <ac:chgData name="Oka, Dr. Dennis Kengo (JP)" userId="aeb014c5-2f18-4035-80ba-4d519a44d38a" providerId="ADAL" clId="{20624EAE-7A54-4C0E-8E32-F1D45109832B}" dt="2025-05-14T08:47:40.508" v="7476" actId="207"/>
          <ac:spMkLst>
            <pc:docMk/>
            <pc:sldMk cId="1027660809" sldId="2147482831"/>
            <ac:spMk id="5" creationId="{724D9F25-3AA6-E202-C0A6-275DE7A1FA65}"/>
          </ac:spMkLst>
        </pc:spChg>
        <pc:spChg chg="mod">
          <ac:chgData name="Oka, Dr. Dennis Kengo (JP)" userId="aeb014c5-2f18-4035-80ba-4d519a44d38a" providerId="ADAL" clId="{20624EAE-7A54-4C0E-8E32-F1D45109832B}" dt="2025-05-14T08:37:00.517" v="7114"/>
          <ac:spMkLst>
            <pc:docMk/>
            <pc:sldMk cId="1027660809" sldId="2147482831"/>
            <ac:spMk id="16" creationId="{B9A94C88-CBC6-688A-31F3-C03E01F45DD2}"/>
          </ac:spMkLst>
        </pc:spChg>
        <pc:spChg chg="mod">
          <ac:chgData name="Oka, Dr. Dennis Kengo (JP)" userId="aeb014c5-2f18-4035-80ba-4d519a44d38a" providerId="ADAL" clId="{20624EAE-7A54-4C0E-8E32-F1D45109832B}" dt="2025-05-14T08:37:24.866" v="7170"/>
          <ac:spMkLst>
            <pc:docMk/>
            <pc:sldMk cId="1027660809" sldId="2147482831"/>
            <ac:spMk id="28" creationId="{7D9CFD2B-82A9-96F7-04FE-40680634FAE8}"/>
          </ac:spMkLst>
        </pc:spChg>
        <pc:spChg chg="mod">
          <ac:chgData name="Oka, Dr. Dennis Kengo (JP)" userId="aeb014c5-2f18-4035-80ba-4d519a44d38a" providerId="ADAL" clId="{20624EAE-7A54-4C0E-8E32-F1D45109832B}" dt="2025-05-14T08:40:33.472" v="7372"/>
          <ac:spMkLst>
            <pc:docMk/>
            <pc:sldMk cId="1027660809" sldId="2147482831"/>
            <ac:spMk id="34" creationId="{224A65BD-11F7-3DAC-0345-DC59C3D6BBE1}"/>
          </ac:spMkLst>
        </pc:spChg>
        <pc:spChg chg="add mod">
          <ac:chgData name="Oka, Dr. Dennis Kengo (JP)" userId="aeb014c5-2f18-4035-80ba-4d519a44d38a" providerId="ADAL" clId="{20624EAE-7A54-4C0E-8E32-F1D45109832B}" dt="2025-05-14T08:58:11.650" v="7600" actId="1076"/>
          <ac:spMkLst>
            <pc:docMk/>
            <pc:sldMk cId="1027660809" sldId="2147482831"/>
            <ac:spMk id="47" creationId="{F834F997-D023-87FA-A7EB-921D03079EBE}"/>
          </ac:spMkLst>
        </pc:spChg>
        <pc:spChg chg="add mod">
          <ac:chgData name="Oka, Dr. Dennis Kengo (JP)" userId="aeb014c5-2f18-4035-80ba-4d519a44d38a" providerId="ADAL" clId="{20624EAE-7A54-4C0E-8E32-F1D45109832B}" dt="2025-05-14T09:02:16.058" v="7645"/>
          <ac:spMkLst>
            <pc:docMk/>
            <pc:sldMk cId="1027660809" sldId="2147482831"/>
            <ac:spMk id="48" creationId="{E316891C-8009-BFFB-274B-1CAB35A1E8AF}"/>
          </ac:spMkLst>
        </pc:spChg>
        <pc:grpChg chg="add mod">
          <ac:chgData name="Oka, Dr. Dennis Kengo (JP)" userId="aeb014c5-2f18-4035-80ba-4d519a44d38a" providerId="ADAL" clId="{20624EAE-7A54-4C0E-8E32-F1D45109832B}" dt="2025-05-14T08:37:00.517" v="7112"/>
          <ac:grpSpMkLst>
            <pc:docMk/>
            <pc:sldMk cId="1027660809" sldId="2147482831"/>
            <ac:grpSpMk id="15" creationId="{B21C922E-241E-871F-4DCC-6056384040B4}"/>
          </ac:grpSpMkLst>
        </pc:grpChg>
        <pc:grpChg chg="add mod ord">
          <ac:chgData name="Oka, Dr. Dennis Kengo (JP)" userId="aeb014c5-2f18-4035-80ba-4d519a44d38a" providerId="ADAL" clId="{20624EAE-7A54-4C0E-8E32-F1D45109832B}" dt="2025-05-14T08:37:24.866" v="7168"/>
          <ac:grpSpMkLst>
            <pc:docMk/>
            <pc:sldMk cId="1027660809" sldId="2147482831"/>
            <ac:grpSpMk id="27" creationId="{FE162FBE-A53C-B270-4D85-58ED45D3B115}"/>
          </ac:grpSpMkLst>
        </pc:grpChg>
        <pc:grpChg chg="add mod">
          <ac:chgData name="Oka, Dr. Dennis Kengo (JP)" userId="aeb014c5-2f18-4035-80ba-4d519a44d38a" providerId="ADAL" clId="{20624EAE-7A54-4C0E-8E32-F1D45109832B}" dt="2025-05-14T08:40:33.472" v="7370"/>
          <ac:grpSpMkLst>
            <pc:docMk/>
            <pc:sldMk cId="1027660809" sldId="2147482831"/>
            <ac:grpSpMk id="33" creationId="{B92CCE94-8F74-2C68-D175-1197B7E2C306}"/>
          </ac:grpSpMkLst>
        </pc:grpChg>
        <pc:picChg chg="mod">
          <ac:chgData name="Oka, Dr. Dennis Kengo (JP)" userId="aeb014c5-2f18-4035-80ba-4d519a44d38a" providerId="ADAL" clId="{20624EAE-7A54-4C0E-8E32-F1D45109832B}" dt="2025-05-14T08:37:00.517" v="7113"/>
          <ac:picMkLst>
            <pc:docMk/>
            <pc:sldMk cId="1027660809" sldId="2147482831"/>
            <ac:picMk id="17" creationId="{90366635-27FA-7C5E-3FCC-16A2EE5C6D45}"/>
          </ac:picMkLst>
        </pc:picChg>
        <pc:picChg chg="mod">
          <ac:chgData name="Oka, Dr. Dennis Kengo (JP)" userId="aeb014c5-2f18-4035-80ba-4d519a44d38a" providerId="ADAL" clId="{20624EAE-7A54-4C0E-8E32-F1D45109832B}" dt="2025-05-14T08:37:24.866" v="7169"/>
          <ac:picMkLst>
            <pc:docMk/>
            <pc:sldMk cId="1027660809" sldId="2147482831"/>
            <ac:picMk id="29" creationId="{25C41ADD-051C-A854-3E5B-E75B27CA10B4}"/>
          </ac:picMkLst>
        </pc:picChg>
        <pc:picChg chg="mod">
          <ac:chgData name="Oka, Dr. Dennis Kengo (JP)" userId="aeb014c5-2f18-4035-80ba-4d519a44d38a" providerId="ADAL" clId="{20624EAE-7A54-4C0E-8E32-F1D45109832B}" dt="2025-05-14T08:40:33.472" v="7371"/>
          <ac:picMkLst>
            <pc:docMk/>
            <pc:sldMk cId="1027660809" sldId="2147482831"/>
            <ac:picMk id="35" creationId="{58D0AB68-D356-E914-F5C9-023AA4132D68}"/>
          </ac:picMkLst>
        </pc:picChg>
      </pc:sldChg>
      <pc:sldChg chg="add">
        <pc:chgData name="Oka, Dr. Dennis Kengo (JP)" userId="aeb014c5-2f18-4035-80ba-4d519a44d38a" providerId="ADAL" clId="{20624EAE-7A54-4C0E-8E32-F1D45109832B}" dt="2025-05-14T08:49:47.377" v="7490"/>
        <pc:sldMkLst>
          <pc:docMk/>
          <pc:sldMk cId="511309730" sldId="2147482832"/>
        </pc:sldMkLst>
      </pc:sldChg>
      <pc:sldMasterChg chg="delSldLayout modSldLayout">
        <pc:chgData name="Oka, Dr. Dennis Kengo (JP)" userId="aeb014c5-2f18-4035-80ba-4d519a44d38a" providerId="ADAL" clId="{20624EAE-7A54-4C0E-8E32-F1D45109832B}" dt="2025-05-13T15:54:48.710" v="3158" actId="47"/>
        <pc:sldMasterMkLst>
          <pc:docMk/>
          <pc:sldMasterMk cId="386244251" sldId="2147483648"/>
        </pc:sldMasterMkLst>
        <pc:sldLayoutChg chg="modSp mod">
          <pc:chgData name="Oka, Dr. Dennis Kengo (JP)" userId="aeb014c5-2f18-4035-80ba-4d519a44d38a" providerId="ADAL" clId="{20624EAE-7A54-4C0E-8E32-F1D45109832B}" dt="2025-04-23T05:38:29.364" v="622" actId="20577"/>
          <pc:sldLayoutMkLst>
            <pc:docMk/>
            <pc:sldMasterMk cId="386244251" sldId="2147483648"/>
            <pc:sldLayoutMk cId="1065716413" sldId="2147483762"/>
          </pc:sldLayoutMkLst>
          <pc:spChg chg="mod">
            <ac:chgData name="Oka, Dr. Dennis Kengo (JP)" userId="aeb014c5-2f18-4035-80ba-4d519a44d38a" providerId="ADAL" clId="{20624EAE-7A54-4C0E-8E32-F1D45109832B}" dt="2025-04-23T05:38:29.364" v="622" actId="20577"/>
            <ac:spMkLst>
              <pc:docMk/>
              <pc:sldMasterMk cId="386244251" sldId="2147483648"/>
              <pc:sldLayoutMk cId="1065716413" sldId="2147483762"/>
              <ac:spMk id="3" creationId="{00000000-0000-0000-0000-000000000000}"/>
            </ac:spMkLst>
          </pc:spChg>
        </pc:sldLayoutChg>
        <pc:sldLayoutChg chg="del">
          <pc:chgData name="Oka, Dr. Dennis Kengo (JP)" userId="aeb014c5-2f18-4035-80ba-4d519a44d38a" providerId="ADAL" clId="{20624EAE-7A54-4C0E-8E32-F1D45109832B}" dt="2025-05-13T08:05:54" v="2810" actId="47"/>
          <pc:sldLayoutMkLst>
            <pc:docMk/>
            <pc:sldMasterMk cId="386244251" sldId="2147483648"/>
            <pc:sldLayoutMk cId="2763717822" sldId="2147483764"/>
          </pc:sldLayoutMkLst>
        </pc:sldLayoutChg>
        <pc:sldLayoutChg chg="del">
          <pc:chgData name="Oka, Dr. Dennis Kengo (JP)" userId="aeb014c5-2f18-4035-80ba-4d519a44d38a" providerId="ADAL" clId="{20624EAE-7A54-4C0E-8E32-F1D45109832B}" dt="2025-04-23T05:24:45.438" v="10" actId="47"/>
          <pc:sldLayoutMkLst>
            <pc:docMk/>
            <pc:sldMasterMk cId="386244251" sldId="2147483648"/>
            <pc:sldLayoutMk cId="3452943508" sldId="2147483764"/>
          </pc:sldLayoutMkLst>
        </pc:sldLayoutChg>
        <pc:sldLayoutChg chg="del">
          <pc:chgData name="Oka, Dr. Dennis Kengo (JP)" userId="aeb014c5-2f18-4035-80ba-4d519a44d38a" providerId="ADAL" clId="{20624EAE-7A54-4C0E-8E32-F1D45109832B}" dt="2025-05-13T05:55:25.636" v="2589" actId="47"/>
          <pc:sldLayoutMkLst>
            <pc:docMk/>
            <pc:sldMasterMk cId="386244251" sldId="2147483648"/>
            <pc:sldLayoutMk cId="3090793714" sldId="2147483765"/>
          </pc:sldLayoutMkLst>
        </pc:sldLayoutChg>
        <pc:sldLayoutChg chg="del">
          <pc:chgData name="Oka, Dr. Dennis Kengo (JP)" userId="aeb014c5-2f18-4035-80ba-4d519a44d38a" providerId="ADAL" clId="{20624EAE-7A54-4C0E-8E32-F1D45109832B}" dt="2025-05-13T15:49:39.229" v="3138" actId="2696"/>
          <pc:sldLayoutMkLst>
            <pc:docMk/>
            <pc:sldMasterMk cId="386244251" sldId="2147483648"/>
            <pc:sldLayoutMk cId="3818805721" sldId="2147483766"/>
          </pc:sldLayoutMkLst>
        </pc:sldLayoutChg>
        <pc:sldLayoutChg chg="del">
          <pc:chgData name="Oka, Dr. Dennis Kengo (JP)" userId="aeb014c5-2f18-4035-80ba-4d519a44d38a" providerId="ADAL" clId="{20624EAE-7A54-4C0E-8E32-F1D45109832B}" dt="2025-05-13T15:54:48.710" v="3158" actId="47"/>
          <pc:sldLayoutMkLst>
            <pc:docMk/>
            <pc:sldMasterMk cId="386244251" sldId="2147483648"/>
            <pc:sldLayoutMk cId="1695107731" sldId="2147483768"/>
          </pc:sldLayoutMkLst>
        </pc:sldLayoutChg>
        <pc:sldLayoutChg chg="del">
          <pc:chgData name="Oka, Dr. Dennis Kengo (JP)" userId="aeb014c5-2f18-4035-80ba-4d519a44d38a" providerId="ADAL" clId="{20624EAE-7A54-4C0E-8E32-F1D45109832B}" dt="2025-05-13T08:06:03.447" v="2813" actId="47"/>
          <pc:sldLayoutMkLst>
            <pc:docMk/>
            <pc:sldMasterMk cId="386244251" sldId="2147483648"/>
            <pc:sldLayoutMk cId="907673274" sldId="2147483769"/>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Incident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48ED-40CD-856D-CD91089CF94A}"/>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2-48ED-40CD-856D-CD91089CF94A}"/>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48ED-40CD-856D-CD91089CF94A}"/>
              </c:ext>
            </c:extLst>
          </c:dPt>
          <c:dPt>
            <c:idx val="3"/>
            <c:bubble3D val="0"/>
            <c:spPr>
              <a:solidFill>
                <a:schemeClr val="accent4"/>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48ED-40CD-856D-CD91089CF94A}"/>
              </c:ext>
            </c:extLst>
          </c:dPt>
          <c:dPt>
            <c:idx val="4"/>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48ED-40CD-856D-CD91089CF94A}"/>
              </c:ext>
            </c:extLst>
          </c:dPt>
          <c:dPt>
            <c:idx val="5"/>
            <c:bubble3D val="0"/>
            <c:spPr>
              <a:solidFill>
                <a:schemeClr val="accent6"/>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6-48ED-40CD-856D-CD91089CF94A}"/>
              </c:ext>
            </c:extLst>
          </c:dPt>
          <c:dPt>
            <c:idx val="6"/>
            <c:bubble3D val="0"/>
            <c:spPr>
              <a:solidFill>
                <a:schemeClr val="accent1">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48ED-40CD-856D-CD91089CF94A}"/>
              </c:ext>
            </c:extLst>
          </c:dPt>
          <c:dPt>
            <c:idx val="7"/>
            <c:bubble3D val="0"/>
            <c:spPr>
              <a:solidFill>
                <a:schemeClr val="accent2">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8-48ED-40CD-856D-CD91089CF94A}"/>
              </c:ext>
            </c:extLst>
          </c:dPt>
          <c:dPt>
            <c:idx val="8"/>
            <c:bubble3D val="0"/>
            <c:spPr>
              <a:solidFill>
                <a:schemeClr val="accent3">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48ED-40CD-856D-CD91089CF94A}"/>
              </c:ext>
            </c:extLst>
          </c:dPt>
          <c:dPt>
            <c:idx val="9"/>
            <c:bubble3D val="0"/>
            <c:spPr>
              <a:solidFill>
                <a:schemeClr val="accent4">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A-48ED-40CD-856D-CD91089CF94A}"/>
              </c:ext>
            </c:extLst>
          </c:dPt>
          <c:dPt>
            <c:idx val="10"/>
            <c:bubble3D val="0"/>
            <c:spPr>
              <a:solidFill>
                <a:schemeClr val="accent5">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B-48ED-40CD-856D-CD91089CF94A}"/>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1-48ED-40CD-856D-CD91089CF94A}"/>
                </c:ext>
              </c:extLst>
            </c:dLbl>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2-48ED-40CD-856D-CD91089CF94A}"/>
                </c:ext>
              </c:extLst>
            </c:dLbl>
            <c:dLbl>
              <c:idx val="2"/>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3"/>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3-48ED-40CD-856D-CD91089CF94A}"/>
                </c:ext>
              </c:extLst>
            </c:dLbl>
            <c:dLbl>
              <c:idx val="3"/>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4"/>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4-48ED-40CD-856D-CD91089CF94A}"/>
                </c:ext>
              </c:extLst>
            </c:dLbl>
            <c:dLbl>
              <c:idx val="4"/>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5"/>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5-48ED-40CD-856D-CD91089CF94A}"/>
                </c:ext>
              </c:extLst>
            </c:dLbl>
            <c:dLbl>
              <c:idx val="5"/>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6"/>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6-48ED-40CD-856D-CD91089CF94A}"/>
                </c:ext>
              </c:extLst>
            </c:dLbl>
            <c:dLbl>
              <c:idx val="6"/>
              <c:layout>
                <c:manualLayout>
                  <c:x val="-1.5787251585279636E-2"/>
                  <c:y val="2.3405512571260046E-2"/>
                </c:manualLayout>
              </c:layout>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lumMod val="60000"/>
                        </a:schemeClr>
                      </a:solidFill>
                      <a:latin typeface="+mn-lt"/>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8ED-40CD-856D-CD91089CF94A}"/>
                </c:ext>
              </c:extLst>
            </c:dLbl>
            <c:dLbl>
              <c:idx val="7"/>
              <c:layout>
                <c:manualLayout>
                  <c:x val="-5.8783723919957641E-2"/>
                  <c:y val="1.7372977555969438E-2"/>
                </c:manualLayout>
              </c:layout>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60000"/>
                        </a:schemeClr>
                      </a:solidFill>
                      <a:latin typeface="+mn-lt"/>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8ED-40CD-856D-CD91089CF94A}"/>
                </c:ext>
              </c:extLst>
            </c:dLbl>
            <c:dLbl>
              <c:idx val="8"/>
              <c:layout>
                <c:manualLayout>
                  <c:x val="-6.5218356787817525E-2"/>
                  <c:y val="-2.7479030785059994E-2"/>
                </c:manualLayout>
              </c:layout>
              <c:spPr>
                <a:noFill/>
                <a:ln>
                  <a:noFill/>
                </a:ln>
                <a:effectLst/>
              </c:spPr>
              <c:txPr>
                <a:bodyPr rot="0" spcFirstLastPara="1" vertOverflow="ellipsis" vert="horz" wrap="square" lIns="38100" tIns="19050" rIns="38100" bIns="19050" anchor="ctr" anchorCtr="1">
                  <a:noAutofit/>
                </a:bodyPr>
                <a:lstStyle/>
                <a:p>
                  <a:pPr>
                    <a:defRPr sz="1600" b="1" i="0" u="none" strike="noStrike" kern="1200" spc="0" baseline="0">
                      <a:solidFill>
                        <a:schemeClr val="accent3">
                          <a:lumMod val="60000"/>
                        </a:schemeClr>
                      </a:solidFill>
                      <a:latin typeface="+mn-lt"/>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15:layout>
                    <c:manualLayout>
                      <c:w val="0.23351492251250772"/>
                      <c:h val="5.665778852887448E-2"/>
                    </c:manualLayout>
                  </c15:layout>
                </c:ext>
                <c:ext xmlns:c16="http://schemas.microsoft.com/office/drawing/2014/chart" uri="{C3380CC4-5D6E-409C-BE32-E72D297353CC}">
                  <c16:uniqueId val="{00000009-48ED-40CD-856D-CD91089CF94A}"/>
                </c:ext>
              </c:extLst>
            </c:dLbl>
            <c:dLbl>
              <c:idx val="9"/>
              <c:layout>
                <c:manualLayout>
                  <c:x val="0.11870374572602824"/>
                  <c:y val="-2.5811673199699167E-2"/>
                </c:manualLayout>
              </c:layout>
              <c:spPr>
                <a:noFill/>
                <a:ln>
                  <a:noFill/>
                </a:ln>
                <a:effectLst/>
              </c:spPr>
              <c:txPr>
                <a:bodyPr rot="0" spcFirstLastPara="1" vertOverflow="ellipsis" vert="horz" wrap="square" lIns="38100" tIns="19050" rIns="38100" bIns="19050" anchor="ctr" anchorCtr="1">
                  <a:noAutofit/>
                </a:bodyPr>
                <a:lstStyle/>
                <a:p>
                  <a:pPr>
                    <a:defRPr sz="1600" b="1" i="0" u="none" strike="noStrike" kern="1200" spc="0" baseline="0">
                      <a:solidFill>
                        <a:schemeClr val="accent4">
                          <a:lumMod val="60000"/>
                        </a:schemeClr>
                      </a:solidFill>
                      <a:latin typeface="+mn-lt"/>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15:layout>
                    <c:manualLayout>
                      <c:w val="0.24386534751390906"/>
                      <c:h val="5.3564529268008851E-2"/>
                    </c:manualLayout>
                  </c15:layout>
                </c:ext>
                <c:ext xmlns:c16="http://schemas.microsoft.com/office/drawing/2014/chart" uri="{C3380CC4-5D6E-409C-BE32-E72D297353CC}">
                  <c16:uniqueId val="{0000000A-48ED-40CD-856D-CD91089CF94A}"/>
                </c:ext>
              </c:extLst>
            </c:dLbl>
            <c:dLbl>
              <c:idx val="10"/>
              <c:layout>
                <c:manualLayout>
                  <c:x val="0.12568846117992"/>
                  <c:y val="1.8936941051368741E-2"/>
                </c:manualLayout>
              </c:layout>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5">
                          <a:lumMod val="60000"/>
                        </a:schemeClr>
                      </a:solidFill>
                      <a:latin typeface="+mn-lt"/>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8ED-40CD-856D-CD91089CF94A}"/>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2</c:f>
              <c:strCache>
                <c:ptCount val="11"/>
                <c:pt idx="0">
                  <c:v>IT systems</c:v>
                </c:pt>
                <c:pt idx="1">
                  <c:v>IVI systems</c:v>
                </c:pt>
                <c:pt idx="2">
                  <c:v>ADAS</c:v>
                </c:pt>
                <c:pt idx="3">
                  <c:v>EV charging</c:v>
                </c:pt>
                <c:pt idx="4">
                  <c:v>BMS</c:v>
                </c:pt>
                <c:pt idx="5">
                  <c:v>ECU</c:v>
                </c:pt>
                <c:pt idx="6">
                  <c:v>Keyless entry</c:v>
                </c:pt>
                <c:pt idx="7">
                  <c:v>Diagnostics</c:v>
                </c:pt>
                <c:pt idx="8">
                  <c:v>Fleet management</c:v>
                </c:pt>
                <c:pt idx="9">
                  <c:v>Mobile/Vehicle apps</c:v>
                </c:pt>
                <c:pt idx="10">
                  <c:v>Other</c:v>
                </c:pt>
              </c:strCache>
            </c:strRef>
          </c:cat>
          <c:val>
            <c:numRef>
              <c:f>Sheet1!$B$2:$B$12</c:f>
              <c:numCache>
                <c:formatCode>General</c:formatCode>
                <c:ptCount val="11"/>
                <c:pt idx="0">
                  <c:v>28.7</c:v>
                </c:pt>
                <c:pt idx="1">
                  <c:v>16.7</c:v>
                </c:pt>
                <c:pt idx="2">
                  <c:v>14.45</c:v>
                </c:pt>
                <c:pt idx="3">
                  <c:v>12.55</c:v>
                </c:pt>
                <c:pt idx="4">
                  <c:v>7.8000000000000007</c:v>
                </c:pt>
                <c:pt idx="5">
                  <c:v>7.35</c:v>
                </c:pt>
                <c:pt idx="6">
                  <c:v>5.6</c:v>
                </c:pt>
                <c:pt idx="7">
                  <c:v>2.75</c:v>
                </c:pt>
                <c:pt idx="8">
                  <c:v>1.4</c:v>
                </c:pt>
                <c:pt idx="9">
                  <c:v>1.35</c:v>
                </c:pt>
                <c:pt idx="10">
                  <c:v>1.35</c:v>
                </c:pt>
              </c:numCache>
            </c:numRef>
          </c:val>
          <c:extLst>
            <c:ext xmlns:c16="http://schemas.microsoft.com/office/drawing/2014/chart" uri="{C3380CC4-5D6E-409C-BE32-E72D297353CC}">
              <c16:uniqueId val="{00000000-48ED-40CD-856D-CD91089CF94A}"/>
            </c:ext>
          </c:extLst>
        </c:ser>
        <c:dLbls>
          <c:dLblPos val="outEnd"/>
          <c:showLegendKey val="0"/>
          <c:showVal val="0"/>
          <c:showCatName val="1"/>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Vulnerabilities</c:v>
                </c:pt>
              </c:strCache>
            </c:strRef>
          </c:tx>
          <c:spPr>
            <a:ln w="28575" cap="rnd">
              <a:solidFill>
                <a:schemeClr val="accent1"/>
              </a:solidFill>
              <a:round/>
            </a:ln>
            <a:effectLst/>
          </c:spPr>
          <c:marker>
            <c:symbol val="none"/>
          </c:marker>
          <c:dLbls>
            <c:delete val="1"/>
          </c:dLbls>
          <c:cat>
            <c:numRef>
              <c:f>Sheet1!$A$2:$A$13</c:f>
              <c:numCache>
                <c:formatCode>General</c:formatCode>
                <c:ptCount val="12"/>
                <c:pt idx="0">
                  <c:v>2014</c:v>
                </c:pt>
                <c:pt idx="1">
                  <c:v>2015</c:v>
                </c:pt>
                <c:pt idx="2">
                  <c:v>2016</c:v>
                </c:pt>
                <c:pt idx="3">
                  <c:v>2017</c:v>
                </c:pt>
                <c:pt idx="4">
                  <c:v>2018</c:v>
                </c:pt>
                <c:pt idx="5">
                  <c:v>2019</c:v>
                </c:pt>
                <c:pt idx="6">
                  <c:v>2020</c:v>
                </c:pt>
                <c:pt idx="7">
                  <c:v>2021</c:v>
                </c:pt>
                <c:pt idx="8">
                  <c:v>2022</c:v>
                </c:pt>
                <c:pt idx="9">
                  <c:v>2023</c:v>
                </c:pt>
                <c:pt idx="10">
                  <c:v>2024</c:v>
                </c:pt>
                <c:pt idx="11">
                  <c:v>2025</c:v>
                </c:pt>
              </c:numCache>
            </c:numRef>
          </c:cat>
          <c:val>
            <c:numRef>
              <c:f>Sheet1!$B$2:$B$13</c:f>
              <c:numCache>
                <c:formatCode>General</c:formatCode>
                <c:ptCount val="12"/>
                <c:pt idx="0">
                  <c:v>6</c:v>
                </c:pt>
                <c:pt idx="1">
                  <c:v>5</c:v>
                </c:pt>
                <c:pt idx="2">
                  <c:v>2</c:v>
                </c:pt>
                <c:pt idx="3">
                  <c:v>15</c:v>
                </c:pt>
                <c:pt idx="4">
                  <c:v>36</c:v>
                </c:pt>
                <c:pt idx="5">
                  <c:v>266</c:v>
                </c:pt>
                <c:pt idx="6">
                  <c:v>340</c:v>
                </c:pt>
                <c:pt idx="7">
                  <c:v>290</c:v>
                </c:pt>
                <c:pt idx="8">
                  <c:v>355</c:v>
                </c:pt>
                <c:pt idx="9">
                  <c:v>426</c:v>
                </c:pt>
                <c:pt idx="10">
                  <c:v>530</c:v>
                </c:pt>
              </c:numCache>
            </c:numRef>
          </c:val>
          <c:smooth val="0"/>
          <c:extLst>
            <c:ext xmlns:c16="http://schemas.microsoft.com/office/drawing/2014/chart" uri="{C3380CC4-5D6E-409C-BE32-E72D297353CC}">
              <c16:uniqueId val="{00000000-A41C-4BA1-860F-2C845B78103F}"/>
            </c:ext>
          </c:extLst>
        </c:ser>
        <c:dLbls>
          <c:showLegendKey val="0"/>
          <c:showVal val="0"/>
          <c:showCatName val="1"/>
          <c:showSerName val="0"/>
          <c:showPercent val="0"/>
          <c:showBubbleSize val="0"/>
        </c:dLbls>
        <c:smooth val="0"/>
        <c:axId val="227627600"/>
        <c:axId val="227632880"/>
      </c:lineChart>
      <c:catAx>
        <c:axId val="227627600"/>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27632880"/>
        <c:crosses val="autoZero"/>
        <c:auto val="1"/>
        <c:lblAlgn val="ctr"/>
        <c:lblOffset val="100"/>
        <c:noMultiLvlLbl val="0"/>
      </c:catAx>
      <c:valAx>
        <c:axId val="227632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276276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C1278E0-518F-4769-B7C8-A287E7695598}"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2BD9EDD3-5A1B-4590-ADAD-809AD74A12EC}">
      <dgm:prSet phldrT="[Text]" custT="1"/>
      <dgm:spPr/>
      <dgm:t>
        <a:bodyPr/>
        <a:lstStyle/>
        <a:p>
          <a:pPr>
            <a:buClrTx/>
            <a:buSzTx/>
            <a:buFont typeface="Arial" panose="020B0604020202020204" pitchFamily="34" charset="0"/>
            <a:buNone/>
          </a:pPr>
          <a:r>
            <a:rPr lang="de-DE" sz="3200" b="0" i="0" u="none" dirty="0" err="1">
              <a:solidFill>
                <a:schemeClr val="tx1"/>
              </a:solidFill>
              <a:latin typeface="Arial" panose="020B0604020202020204" pitchFamily="34" charset="0"/>
            </a:rPr>
            <a:t>Overview</a:t>
          </a:r>
          <a:r>
            <a:rPr lang="de-DE" sz="3200" b="0" i="0" u="none" dirty="0">
              <a:solidFill>
                <a:schemeClr val="tx1"/>
              </a:solidFill>
              <a:latin typeface="Arial" panose="020B0604020202020204" pitchFamily="34" charset="0"/>
            </a:rPr>
            <a:t> </a:t>
          </a:r>
          <a:r>
            <a:rPr lang="de-DE" sz="3200" b="0" i="0" u="none" dirty="0" err="1">
              <a:solidFill>
                <a:schemeClr val="tx1"/>
              </a:solidFill>
              <a:latin typeface="Arial" panose="020B0604020202020204" pitchFamily="34" charset="0"/>
            </a:rPr>
            <a:t>of</a:t>
          </a:r>
          <a:r>
            <a:rPr lang="de-DE" sz="3200" b="0" i="0" u="none" dirty="0">
              <a:solidFill>
                <a:schemeClr val="tx1"/>
              </a:solidFill>
              <a:latin typeface="Arial" panose="020B0604020202020204" pitchFamily="34" charset="0"/>
            </a:rPr>
            <a:t> </a:t>
          </a:r>
          <a:r>
            <a:rPr lang="de-DE" sz="3200" b="0" i="0" u="none" dirty="0" err="1">
              <a:solidFill>
                <a:schemeClr val="tx1"/>
              </a:solidFill>
              <a:latin typeface="Arial" panose="020B0604020202020204" pitchFamily="34" charset="0"/>
            </a:rPr>
            <a:t>threats</a:t>
          </a:r>
          <a:r>
            <a:rPr lang="de-DE" sz="3200" b="0" i="0" u="none" dirty="0">
              <a:solidFill>
                <a:schemeClr val="tx1"/>
              </a:solidFill>
              <a:latin typeface="Arial" panose="020B0604020202020204" pitchFamily="34" charset="0"/>
            </a:rPr>
            <a:t> and </a:t>
          </a:r>
          <a:r>
            <a:rPr lang="de-DE" sz="3200" b="0" i="0" u="none" dirty="0" err="1">
              <a:solidFill>
                <a:schemeClr val="tx1"/>
              </a:solidFill>
              <a:latin typeface="Arial" panose="020B0604020202020204" pitchFamily="34" charset="0"/>
            </a:rPr>
            <a:t>attacks</a:t>
          </a:r>
          <a:r>
            <a:rPr lang="de-DE" sz="3200" b="0" i="0" u="none" dirty="0">
              <a:solidFill>
                <a:schemeClr val="tx1"/>
              </a:solidFill>
              <a:latin typeface="Arial" panose="020B0604020202020204" pitchFamily="34" charset="0"/>
            </a:rPr>
            <a:t> </a:t>
          </a:r>
          <a:r>
            <a:rPr lang="de-DE" sz="3200" b="0" i="0" u="none" dirty="0" err="1">
              <a:solidFill>
                <a:schemeClr val="tx1"/>
              </a:solidFill>
              <a:latin typeface="Arial" panose="020B0604020202020204" pitchFamily="34" charset="0"/>
            </a:rPr>
            <a:t>trends</a:t>
          </a:r>
          <a:endParaRPr lang="en-US" sz="3200" dirty="0">
            <a:solidFill>
              <a:schemeClr val="tx1"/>
            </a:solidFill>
          </a:endParaRPr>
        </a:p>
      </dgm:t>
    </dgm:pt>
    <dgm:pt modelId="{2CB77CF7-EE66-4804-959C-AD0F70CCEF1A}" type="parTrans" cxnId="{A6A8255E-D390-4D9C-B836-25F225A0FEC6}">
      <dgm:prSet/>
      <dgm:spPr/>
      <dgm:t>
        <a:bodyPr/>
        <a:lstStyle/>
        <a:p>
          <a:endParaRPr lang="en-US"/>
        </a:p>
      </dgm:t>
    </dgm:pt>
    <dgm:pt modelId="{B16D06B8-EF0E-4975-A917-B979DF65E536}" type="sibTrans" cxnId="{A6A8255E-D390-4D9C-B836-25F225A0FEC6}">
      <dgm:prSet/>
      <dgm:spPr/>
      <dgm:t>
        <a:bodyPr/>
        <a:lstStyle/>
        <a:p>
          <a:endParaRPr lang="en-US"/>
        </a:p>
      </dgm:t>
    </dgm:pt>
    <dgm:pt modelId="{F0CC0F94-C265-4F27-98EC-38A46BCB4310}">
      <dgm:prSet phldrT="[Text]" custT="1"/>
      <dgm:spPr/>
      <dgm:t>
        <a:bodyPr/>
        <a:lstStyle/>
        <a:p>
          <a:r>
            <a:rPr lang="de-DE" sz="3200" b="0" i="0" u="none" dirty="0">
              <a:solidFill>
                <a:schemeClr val="tx1"/>
              </a:solidFill>
            </a:rPr>
            <a:t>Review </a:t>
          </a:r>
          <a:r>
            <a:rPr lang="de-DE" sz="3200" b="0" i="0" u="none" dirty="0" err="1">
              <a:solidFill>
                <a:schemeClr val="tx1"/>
              </a:solidFill>
            </a:rPr>
            <a:t>of</a:t>
          </a:r>
          <a:r>
            <a:rPr lang="de-DE" sz="3200" b="0" i="0" u="none" dirty="0">
              <a:solidFill>
                <a:schemeClr val="tx1"/>
              </a:solidFill>
            </a:rPr>
            <a:t> </a:t>
          </a:r>
          <a:r>
            <a:rPr lang="de-DE" sz="3200" b="0" i="0" u="none" dirty="0" err="1">
              <a:solidFill>
                <a:schemeClr val="tx1"/>
              </a:solidFill>
            </a:rPr>
            <a:t>attack</a:t>
          </a:r>
          <a:r>
            <a:rPr lang="de-DE" sz="3200" b="0" i="0" u="none" dirty="0">
              <a:solidFill>
                <a:schemeClr val="tx1"/>
              </a:solidFill>
            </a:rPr>
            <a:t> </a:t>
          </a:r>
          <a:r>
            <a:rPr lang="de-DE" sz="3200" b="0" i="0" u="none" dirty="0" err="1">
              <a:solidFill>
                <a:schemeClr val="tx1"/>
              </a:solidFill>
            </a:rPr>
            <a:t>examples</a:t>
          </a:r>
          <a:endParaRPr lang="en-US" sz="3200" dirty="0">
            <a:solidFill>
              <a:schemeClr val="tx1"/>
            </a:solidFill>
          </a:endParaRPr>
        </a:p>
      </dgm:t>
    </dgm:pt>
    <dgm:pt modelId="{711DE623-8F36-40D8-A03B-E410A3905A3A}" type="parTrans" cxnId="{E6464BEE-BBEB-4804-BD33-66FF43811AB5}">
      <dgm:prSet/>
      <dgm:spPr/>
      <dgm:t>
        <a:bodyPr/>
        <a:lstStyle/>
        <a:p>
          <a:endParaRPr lang="en-US"/>
        </a:p>
      </dgm:t>
    </dgm:pt>
    <dgm:pt modelId="{5B4D1625-F753-425D-BFFD-ADB0118C4F05}" type="sibTrans" cxnId="{E6464BEE-BBEB-4804-BD33-66FF43811AB5}">
      <dgm:prSet/>
      <dgm:spPr/>
      <dgm:t>
        <a:bodyPr/>
        <a:lstStyle/>
        <a:p>
          <a:endParaRPr lang="en-US"/>
        </a:p>
      </dgm:t>
    </dgm:pt>
    <dgm:pt modelId="{B268C4B4-C122-4D0F-B69C-BB8745E3A3DD}" type="pres">
      <dgm:prSet presAssocID="{4C1278E0-518F-4769-B7C8-A287E7695598}" presName="Name0" presStyleCnt="0">
        <dgm:presLayoutVars>
          <dgm:chMax val="7"/>
          <dgm:chPref val="7"/>
          <dgm:dir/>
        </dgm:presLayoutVars>
      </dgm:prSet>
      <dgm:spPr/>
    </dgm:pt>
    <dgm:pt modelId="{AF3BE7C3-2985-4415-9D0B-2F65AF079E16}" type="pres">
      <dgm:prSet presAssocID="{4C1278E0-518F-4769-B7C8-A287E7695598}" presName="Name1" presStyleCnt="0"/>
      <dgm:spPr/>
    </dgm:pt>
    <dgm:pt modelId="{B8E1FF46-CB5B-48BB-B0D3-66A611B189BB}" type="pres">
      <dgm:prSet presAssocID="{4C1278E0-518F-4769-B7C8-A287E7695598}" presName="cycle" presStyleCnt="0"/>
      <dgm:spPr/>
    </dgm:pt>
    <dgm:pt modelId="{0C895D8E-38E2-4A7E-AC09-03C9782BA739}" type="pres">
      <dgm:prSet presAssocID="{4C1278E0-518F-4769-B7C8-A287E7695598}" presName="srcNode" presStyleLbl="node1" presStyleIdx="0" presStyleCnt="2"/>
      <dgm:spPr/>
    </dgm:pt>
    <dgm:pt modelId="{B174ABE9-A050-4132-B764-2DB3DD441ED1}" type="pres">
      <dgm:prSet presAssocID="{4C1278E0-518F-4769-B7C8-A287E7695598}" presName="conn" presStyleLbl="parChTrans1D2" presStyleIdx="0" presStyleCnt="1"/>
      <dgm:spPr/>
    </dgm:pt>
    <dgm:pt modelId="{5DE1571F-130B-49E5-B821-F3793FDD4973}" type="pres">
      <dgm:prSet presAssocID="{4C1278E0-518F-4769-B7C8-A287E7695598}" presName="extraNode" presStyleLbl="node1" presStyleIdx="0" presStyleCnt="2"/>
      <dgm:spPr/>
    </dgm:pt>
    <dgm:pt modelId="{211AEB76-CDD2-4918-97A2-8472F9DDE20F}" type="pres">
      <dgm:prSet presAssocID="{4C1278E0-518F-4769-B7C8-A287E7695598}" presName="dstNode" presStyleLbl="node1" presStyleIdx="0" presStyleCnt="2"/>
      <dgm:spPr/>
    </dgm:pt>
    <dgm:pt modelId="{7F8EF875-57B6-4E4C-8A10-BE7EFCBC0BB1}" type="pres">
      <dgm:prSet presAssocID="{2BD9EDD3-5A1B-4590-ADAD-809AD74A12EC}" presName="text_1" presStyleLbl="node1" presStyleIdx="0" presStyleCnt="2">
        <dgm:presLayoutVars>
          <dgm:bulletEnabled val="1"/>
        </dgm:presLayoutVars>
      </dgm:prSet>
      <dgm:spPr/>
    </dgm:pt>
    <dgm:pt modelId="{81004FDC-1A1C-4B3D-A460-48B6D4845BB2}" type="pres">
      <dgm:prSet presAssocID="{2BD9EDD3-5A1B-4590-ADAD-809AD74A12EC}" presName="accent_1" presStyleCnt="0"/>
      <dgm:spPr/>
    </dgm:pt>
    <dgm:pt modelId="{45136930-ACDF-4779-AE31-B5F03FB4B4B6}" type="pres">
      <dgm:prSet presAssocID="{2BD9EDD3-5A1B-4590-ADAD-809AD74A12EC}" presName="accentRepeatNode" presStyleLbl="solidFgAcc1" presStyleIdx="0" presStyleCnt="2"/>
      <dgm:spPr/>
    </dgm:pt>
    <dgm:pt modelId="{9B383488-EEF7-4927-AC97-927680A96CAD}" type="pres">
      <dgm:prSet presAssocID="{F0CC0F94-C265-4F27-98EC-38A46BCB4310}" presName="text_2" presStyleLbl="node1" presStyleIdx="1" presStyleCnt="2">
        <dgm:presLayoutVars>
          <dgm:bulletEnabled val="1"/>
        </dgm:presLayoutVars>
      </dgm:prSet>
      <dgm:spPr/>
    </dgm:pt>
    <dgm:pt modelId="{3BD76C5B-D695-44B2-BA3F-083C1513C571}" type="pres">
      <dgm:prSet presAssocID="{F0CC0F94-C265-4F27-98EC-38A46BCB4310}" presName="accent_2" presStyleCnt="0"/>
      <dgm:spPr/>
    </dgm:pt>
    <dgm:pt modelId="{5A511229-F29A-4B4B-994A-F1410CE29813}" type="pres">
      <dgm:prSet presAssocID="{F0CC0F94-C265-4F27-98EC-38A46BCB4310}" presName="accentRepeatNode" presStyleLbl="solidFgAcc1" presStyleIdx="1" presStyleCnt="2"/>
      <dgm:spPr/>
    </dgm:pt>
  </dgm:ptLst>
  <dgm:cxnLst>
    <dgm:cxn modelId="{29A32B12-04F7-47DB-868C-EB0ACFA6A908}" type="presOf" srcId="{2BD9EDD3-5A1B-4590-ADAD-809AD74A12EC}" destId="{7F8EF875-57B6-4E4C-8A10-BE7EFCBC0BB1}" srcOrd="0" destOrd="0" presId="urn:microsoft.com/office/officeart/2008/layout/VerticalCurvedList"/>
    <dgm:cxn modelId="{A6A8255E-D390-4D9C-B836-25F225A0FEC6}" srcId="{4C1278E0-518F-4769-B7C8-A287E7695598}" destId="{2BD9EDD3-5A1B-4590-ADAD-809AD74A12EC}" srcOrd="0" destOrd="0" parTransId="{2CB77CF7-EE66-4804-959C-AD0F70CCEF1A}" sibTransId="{B16D06B8-EF0E-4975-A917-B979DF65E536}"/>
    <dgm:cxn modelId="{31594F6F-1788-4BAB-A249-9523955840D9}" type="presOf" srcId="{4C1278E0-518F-4769-B7C8-A287E7695598}" destId="{B268C4B4-C122-4D0F-B69C-BB8745E3A3DD}" srcOrd="0" destOrd="0" presId="urn:microsoft.com/office/officeart/2008/layout/VerticalCurvedList"/>
    <dgm:cxn modelId="{83349C8F-7E98-48B5-A046-464D16744A40}" type="presOf" srcId="{F0CC0F94-C265-4F27-98EC-38A46BCB4310}" destId="{9B383488-EEF7-4927-AC97-927680A96CAD}" srcOrd="0" destOrd="0" presId="urn:microsoft.com/office/officeart/2008/layout/VerticalCurvedList"/>
    <dgm:cxn modelId="{5E44CEB4-A4D6-4BFA-8303-12DEBA24D64F}" type="presOf" srcId="{B16D06B8-EF0E-4975-A917-B979DF65E536}" destId="{B174ABE9-A050-4132-B764-2DB3DD441ED1}" srcOrd="0" destOrd="0" presId="urn:microsoft.com/office/officeart/2008/layout/VerticalCurvedList"/>
    <dgm:cxn modelId="{E6464BEE-BBEB-4804-BD33-66FF43811AB5}" srcId="{4C1278E0-518F-4769-B7C8-A287E7695598}" destId="{F0CC0F94-C265-4F27-98EC-38A46BCB4310}" srcOrd="1" destOrd="0" parTransId="{711DE623-8F36-40D8-A03B-E410A3905A3A}" sibTransId="{5B4D1625-F753-425D-BFFD-ADB0118C4F05}"/>
    <dgm:cxn modelId="{D5E4D3FF-8BA4-4CFB-80FA-567BAFFFE4FC}" type="presParOf" srcId="{B268C4B4-C122-4D0F-B69C-BB8745E3A3DD}" destId="{AF3BE7C3-2985-4415-9D0B-2F65AF079E16}" srcOrd="0" destOrd="0" presId="urn:microsoft.com/office/officeart/2008/layout/VerticalCurvedList"/>
    <dgm:cxn modelId="{205C789C-0234-453D-AF7E-AF01CF95E2E5}" type="presParOf" srcId="{AF3BE7C3-2985-4415-9D0B-2F65AF079E16}" destId="{B8E1FF46-CB5B-48BB-B0D3-66A611B189BB}" srcOrd="0" destOrd="0" presId="urn:microsoft.com/office/officeart/2008/layout/VerticalCurvedList"/>
    <dgm:cxn modelId="{B6AEA63C-22F4-41E4-A844-7A94464FCF89}" type="presParOf" srcId="{B8E1FF46-CB5B-48BB-B0D3-66A611B189BB}" destId="{0C895D8E-38E2-4A7E-AC09-03C9782BA739}" srcOrd="0" destOrd="0" presId="urn:microsoft.com/office/officeart/2008/layout/VerticalCurvedList"/>
    <dgm:cxn modelId="{528F882B-796A-4E7A-BAD2-C3C0039EDE8B}" type="presParOf" srcId="{B8E1FF46-CB5B-48BB-B0D3-66A611B189BB}" destId="{B174ABE9-A050-4132-B764-2DB3DD441ED1}" srcOrd="1" destOrd="0" presId="urn:microsoft.com/office/officeart/2008/layout/VerticalCurvedList"/>
    <dgm:cxn modelId="{2EF4A755-CFE2-4B4A-82A0-20CBC784B42D}" type="presParOf" srcId="{B8E1FF46-CB5B-48BB-B0D3-66A611B189BB}" destId="{5DE1571F-130B-49E5-B821-F3793FDD4973}" srcOrd="2" destOrd="0" presId="urn:microsoft.com/office/officeart/2008/layout/VerticalCurvedList"/>
    <dgm:cxn modelId="{2434673C-716C-4F96-9F5E-1658B64FC95E}" type="presParOf" srcId="{B8E1FF46-CB5B-48BB-B0D3-66A611B189BB}" destId="{211AEB76-CDD2-4918-97A2-8472F9DDE20F}" srcOrd="3" destOrd="0" presId="urn:microsoft.com/office/officeart/2008/layout/VerticalCurvedList"/>
    <dgm:cxn modelId="{71F13DBA-5831-4F9C-8C85-B035FE4AABE7}" type="presParOf" srcId="{AF3BE7C3-2985-4415-9D0B-2F65AF079E16}" destId="{7F8EF875-57B6-4E4C-8A10-BE7EFCBC0BB1}" srcOrd="1" destOrd="0" presId="urn:microsoft.com/office/officeart/2008/layout/VerticalCurvedList"/>
    <dgm:cxn modelId="{33E8F5C2-92CA-4178-96C6-A6C0C0793804}" type="presParOf" srcId="{AF3BE7C3-2985-4415-9D0B-2F65AF079E16}" destId="{81004FDC-1A1C-4B3D-A460-48B6D4845BB2}" srcOrd="2" destOrd="0" presId="urn:microsoft.com/office/officeart/2008/layout/VerticalCurvedList"/>
    <dgm:cxn modelId="{71A933D5-46B9-4830-BD5D-7809E28E4DF4}" type="presParOf" srcId="{81004FDC-1A1C-4B3D-A460-48B6D4845BB2}" destId="{45136930-ACDF-4779-AE31-B5F03FB4B4B6}" srcOrd="0" destOrd="0" presId="urn:microsoft.com/office/officeart/2008/layout/VerticalCurvedList"/>
    <dgm:cxn modelId="{3E5E4AB6-D315-4EBD-B376-79513A533B10}" type="presParOf" srcId="{AF3BE7C3-2985-4415-9D0B-2F65AF079E16}" destId="{9B383488-EEF7-4927-AC97-927680A96CAD}" srcOrd="3" destOrd="0" presId="urn:microsoft.com/office/officeart/2008/layout/VerticalCurvedList"/>
    <dgm:cxn modelId="{948A5CB9-988D-4AD7-9F15-8E4081FCD26A}" type="presParOf" srcId="{AF3BE7C3-2985-4415-9D0B-2F65AF079E16}" destId="{3BD76C5B-D695-44B2-BA3F-083C1513C571}" srcOrd="4" destOrd="0" presId="urn:microsoft.com/office/officeart/2008/layout/VerticalCurvedList"/>
    <dgm:cxn modelId="{480F0FF3-0098-4111-80EE-8667DDFCB8FA}" type="presParOf" srcId="{3BD76C5B-D695-44B2-BA3F-083C1513C571}" destId="{5A511229-F29A-4B4B-994A-F1410CE29813}"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C1278E0-518F-4769-B7C8-A287E7695598}"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2BD9EDD3-5A1B-4590-ADAD-809AD74A12EC}">
      <dgm:prSet phldrT="[Text]" custT="1"/>
      <dgm:spPr/>
      <dgm:t>
        <a:bodyPr/>
        <a:lstStyle/>
        <a:p>
          <a:pPr>
            <a:buClrTx/>
            <a:buSzTx/>
            <a:buFont typeface="Arial" panose="020B0604020202020204" pitchFamily="34" charset="0"/>
            <a:buNone/>
          </a:pPr>
          <a:r>
            <a:rPr lang="de-DE" sz="3200" b="0" i="0" u="none" dirty="0" err="1">
              <a:solidFill>
                <a:schemeClr val="tx1"/>
              </a:solidFill>
              <a:latin typeface="Arial" panose="020B0604020202020204" pitchFamily="34" charset="0"/>
            </a:rPr>
            <a:t>Overview</a:t>
          </a:r>
          <a:r>
            <a:rPr lang="de-DE" sz="3200" b="0" i="0" u="none" dirty="0">
              <a:solidFill>
                <a:schemeClr val="tx1"/>
              </a:solidFill>
              <a:latin typeface="Arial" panose="020B0604020202020204" pitchFamily="34" charset="0"/>
            </a:rPr>
            <a:t> </a:t>
          </a:r>
          <a:r>
            <a:rPr lang="de-DE" sz="3200" b="0" i="0" u="none" dirty="0" err="1">
              <a:solidFill>
                <a:schemeClr val="tx1"/>
              </a:solidFill>
              <a:latin typeface="Arial" panose="020B0604020202020204" pitchFamily="34" charset="0"/>
            </a:rPr>
            <a:t>of</a:t>
          </a:r>
          <a:r>
            <a:rPr lang="de-DE" sz="3200" b="0" i="0" u="none" dirty="0">
              <a:solidFill>
                <a:schemeClr val="tx1"/>
              </a:solidFill>
              <a:latin typeface="Arial" panose="020B0604020202020204" pitchFamily="34" charset="0"/>
            </a:rPr>
            <a:t> </a:t>
          </a:r>
          <a:r>
            <a:rPr lang="de-DE" sz="3200" b="0" i="0" u="none" dirty="0" err="1">
              <a:solidFill>
                <a:schemeClr val="tx1"/>
              </a:solidFill>
              <a:latin typeface="Arial" panose="020B0604020202020204" pitchFamily="34" charset="0"/>
            </a:rPr>
            <a:t>threats</a:t>
          </a:r>
          <a:r>
            <a:rPr lang="de-DE" sz="3200" b="0" i="0" u="none" dirty="0">
              <a:solidFill>
                <a:schemeClr val="tx1"/>
              </a:solidFill>
              <a:latin typeface="Arial" panose="020B0604020202020204" pitchFamily="34" charset="0"/>
            </a:rPr>
            <a:t> and </a:t>
          </a:r>
          <a:r>
            <a:rPr lang="de-DE" sz="3200" b="0" i="0" u="none" dirty="0" err="1">
              <a:solidFill>
                <a:schemeClr val="tx1"/>
              </a:solidFill>
              <a:latin typeface="Arial" panose="020B0604020202020204" pitchFamily="34" charset="0"/>
            </a:rPr>
            <a:t>attacks</a:t>
          </a:r>
          <a:r>
            <a:rPr lang="de-DE" sz="3200" b="0" i="0" u="none" dirty="0">
              <a:solidFill>
                <a:schemeClr val="tx1"/>
              </a:solidFill>
              <a:latin typeface="Arial" panose="020B0604020202020204" pitchFamily="34" charset="0"/>
            </a:rPr>
            <a:t> </a:t>
          </a:r>
          <a:r>
            <a:rPr lang="de-DE" sz="3200" b="0" i="0" u="none" dirty="0" err="1">
              <a:solidFill>
                <a:schemeClr val="tx1"/>
              </a:solidFill>
              <a:latin typeface="Arial" panose="020B0604020202020204" pitchFamily="34" charset="0"/>
            </a:rPr>
            <a:t>trends</a:t>
          </a:r>
          <a:endParaRPr lang="en-US" sz="3200" dirty="0">
            <a:solidFill>
              <a:schemeClr val="tx1"/>
            </a:solidFill>
          </a:endParaRPr>
        </a:p>
      </dgm:t>
    </dgm:pt>
    <dgm:pt modelId="{2CB77CF7-EE66-4804-959C-AD0F70CCEF1A}" type="parTrans" cxnId="{A6A8255E-D390-4D9C-B836-25F225A0FEC6}">
      <dgm:prSet/>
      <dgm:spPr/>
      <dgm:t>
        <a:bodyPr/>
        <a:lstStyle/>
        <a:p>
          <a:endParaRPr lang="en-US"/>
        </a:p>
      </dgm:t>
    </dgm:pt>
    <dgm:pt modelId="{B16D06B8-EF0E-4975-A917-B979DF65E536}" type="sibTrans" cxnId="{A6A8255E-D390-4D9C-B836-25F225A0FEC6}">
      <dgm:prSet/>
      <dgm:spPr/>
      <dgm:t>
        <a:bodyPr/>
        <a:lstStyle/>
        <a:p>
          <a:endParaRPr lang="en-US"/>
        </a:p>
      </dgm:t>
    </dgm:pt>
    <dgm:pt modelId="{F0CC0F94-C265-4F27-98EC-38A46BCB4310}">
      <dgm:prSet phldrT="[Text]" custT="1"/>
      <dgm:spPr/>
      <dgm:t>
        <a:bodyPr/>
        <a:lstStyle/>
        <a:p>
          <a:r>
            <a:rPr lang="de-DE" sz="3200" b="0" i="0" u="none" dirty="0">
              <a:solidFill>
                <a:schemeClr val="bg1">
                  <a:lumMod val="85000"/>
                </a:schemeClr>
              </a:solidFill>
            </a:rPr>
            <a:t>Review </a:t>
          </a:r>
          <a:r>
            <a:rPr lang="de-DE" sz="3200" b="0" i="0" u="none" dirty="0" err="1">
              <a:solidFill>
                <a:schemeClr val="bg1">
                  <a:lumMod val="85000"/>
                </a:schemeClr>
              </a:solidFill>
            </a:rPr>
            <a:t>of</a:t>
          </a:r>
          <a:r>
            <a:rPr lang="de-DE" sz="3200" b="0" i="0" u="none" dirty="0">
              <a:solidFill>
                <a:schemeClr val="bg1">
                  <a:lumMod val="85000"/>
                </a:schemeClr>
              </a:solidFill>
            </a:rPr>
            <a:t> </a:t>
          </a:r>
          <a:r>
            <a:rPr lang="de-DE" sz="3200" b="0" i="0" u="none" dirty="0" err="1">
              <a:solidFill>
                <a:schemeClr val="bg1">
                  <a:lumMod val="85000"/>
                </a:schemeClr>
              </a:solidFill>
            </a:rPr>
            <a:t>attack</a:t>
          </a:r>
          <a:r>
            <a:rPr lang="de-DE" sz="3200" b="0" i="0" u="none" dirty="0">
              <a:solidFill>
                <a:schemeClr val="bg1">
                  <a:lumMod val="85000"/>
                </a:schemeClr>
              </a:solidFill>
            </a:rPr>
            <a:t> </a:t>
          </a:r>
          <a:r>
            <a:rPr lang="de-DE" sz="3200" b="0" i="0" u="none" dirty="0" err="1">
              <a:solidFill>
                <a:schemeClr val="bg1">
                  <a:lumMod val="85000"/>
                </a:schemeClr>
              </a:solidFill>
            </a:rPr>
            <a:t>examples</a:t>
          </a:r>
          <a:endParaRPr lang="en-US" sz="3200" dirty="0">
            <a:solidFill>
              <a:schemeClr val="bg1">
                <a:lumMod val="85000"/>
              </a:schemeClr>
            </a:solidFill>
          </a:endParaRPr>
        </a:p>
      </dgm:t>
    </dgm:pt>
    <dgm:pt modelId="{711DE623-8F36-40D8-A03B-E410A3905A3A}" type="parTrans" cxnId="{E6464BEE-BBEB-4804-BD33-66FF43811AB5}">
      <dgm:prSet/>
      <dgm:spPr/>
      <dgm:t>
        <a:bodyPr/>
        <a:lstStyle/>
        <a:p>
          <a:endParaRPr lang="en-US"/>
        </a:p>
      </dgm:t>
    </dgm:pt>
    <dgm:pt modelId="{5B4D1625-F753-425D-BFFD-ADB0118C4F05}" type="sibTrans" cxnId="{E6464BEE-BBEB-4804-BD33-66FF43811AB5}">
      <dgm:prSet/>
      <dgm:spPr/>
      <dgm:t>
        <a:bodyPr/>
        <a:lstStyle/>
        <a:p>
          <a:endParaRPr lang="en-US"/>
        </a:p>
      </dgm:t>
    </dgm:pt>
    <dgm:pt modelId="{B268C4B4-C122-4D0F-B69C-BB8745E3A3DD}" type="pres">
      <dgm:prSet presAssocID="{4C1278E0-518F-4769-B7C8-A287E7695598}" presName="Name0" presStyleCnt="0">
        <dgm:presLayoutVars>
          <dgm:chMax val="7"/>
          <dgm:chPref val="7"/>
          <dgm:dir/>
        </dgm:presLayoutVars>
      </dgm:prSet>
      <dgm:spPr/>
    </dgm:pt>
    <dgm:pt modelId="{AF3BE7C3-2985-4415-9D0B-2F65AF079E16}" type="pres">
      <dgm:prSet presAssocID="{4C1278E0-518F-4769-B7C8-A287E7695598}" presName="Name1" presStyleCnt="0"/>
      <dgm:spPr/>
    </dgm:pt>
    <dgm:pt modelId="{B8E1FF46-CB5B-48BB-B0D3-66A611B189BB}" type="pres">
      <dgm:prSet presAssocID="{4C1278E0-518F-4769-B7C8-A287E7695598}" presName="cycle" presStyleCnt="0"/>
      <dgm:spPr/>
    </dgm:pt>
    <dgm:pt modelId="{0C895D8E-38E2-4A7E-AC09-03C9782BA739}" type="pres">
      <dgm:prSet presAssocID="{4C1278E0-518F-4769-B7C8-A287E7695598}" presName="srcNode" presStyleLbl="node1" presStyleIdx="0" presStyleCnt="2"/>
      <dgm:spPr/>
    </dgm:pt>
    <dgm:pt modelId="{B174ABE9-A050-4132-B764-2DB3DD441ED1}" type="pres">
      <dgm:prSet presAssocID="{4C1278E0-518F-4769-B7C8-A287E7695598}" presName="conn" presStyleLbl="parChTrans1D2" presStyleIdx="0" presStyleCnt="1"/>
      <dgm:spPr/>
    </dgm:pt>
    <dgm:pt modelId="{5DE1571F-130B-49E5-B821-F3793FDD4973}" type="pres">
      <dgm:prSet presAssocID="{4C1278E0-518F-4769-B7C8-A287E7695598}" presName="extraNode" presStyleLbl="node1" presStyleIdx="0" presStyleCnt="2"/>
      <dgm:spPr/>
    </dgm:pt>
    <dgm:pt modelId="{211AEB76-CDD2-4918-97A2-8472F9DDE20F}" type="pres">
      <dgm:prSet presAssocID="{4C1278E0-518F-4769-B7C8-A287E7695598}" presName="dstNode" presStyleLbl="node1" presStyleIdx="0" presStyleCnt="2"/>
      <dgm:spPr/>
    </dgm:pt>
    <dgm:pt modelId="{7F8EF875-57B6-4E4C-8A10-BE7EFCBC0BB1}" type="pres">
      <dgm:prSet presAssocID="{2BD9EDD3-5A1B-4590-ADAD-809AD74A12EC}" presName="text_1" presStyleLbl="node1" presStyleIdx="0" presStyleCnt="2">
        <dgm:presLayoutVars>
          <dgm:bulletEnabled val="1"/>
        </dgm:presLayoutVars>
      </dgm:prSet>
      <dgm:spPr/>
    </dgm:pt>
    <dgm:pt modelId="{81004FDC-1A1C-4B3D-A460-48B6D4845BB2}" type="pres">
      <dgm:prSet presAssocID="{2BD9EDD3-5A1B-4590-ADAD-809AD74A12EC}" presName="accent_1" presStyleCnt="0"/>
      <dgm:spPr/>
    </dgm:pt>
    <dgm:pt modelId="{45136930-ACDF-4779-AE31-B5F03FB4B4B6}" type="pres">
      <dgm:prSet presAssocID="{2BD9EDD3-5A1B-4590-ADAD-809AD74A12EC}" presName="accentRepeatNode" presStyleLbl="solidFgAcc1" presStyleIdx="0" presStyleCnt="2"/>
      <dgm:spPr/>
    </dgm:pt>
    <dgm:pt modelId="{9B383488-EEF7-4927-AC97-927680A96CAD}" type="pres">
      <dgm:prSet presAssocID="{F0CC0F94-C265-4F27-98EC-38A46BCB4310}" presName="text_2" presStyleLbl="node1" presStyleIdx="1" presStyleCnt="2">
        <dgm:presLayoutVars>
          <dgm:bulletEnabled val="1"/>
        </dgm:presLayoutVars>
      </dgm:prSet>
      <dgm:spPr/>
    </dgm:pt>
    <dgm:pt modelId="{3BD76C5B-D695-44B2-BA3F-083C1513C571}" type="pres">
      <dgm:prSet presAssocID="{F0CC0F94-C265-4F27-98EC-38A46BCB4310}" presName="accent_2" presStyleCnt="0"/>
      <dgm:spPr/>
    </dgm:pt>
    <dgm:pt modelId="{5A511229-F29A-4B4B-994A-F1410CE29813}" type="pres">
      <dgm:prSet presAssocID="{F0CC0F94-C265-4F27-98EC-38A46BCB4310}" presName="accentRepeatNode" presStyleLbl="solidFgAcc1" presStyleIdx="1" presStyleCnt="2"/>
      <dgm:spPr/>
    </dgm:pt>
  </dgm:ptLst>
  <dgm:cxnLst>
    <dgm:cxn modelId="{29A32B12-04F7-47DB-868C-EB0ACFA6A908}" type="presOf" srcId="{2BD9EDD3-5A1B-4590-ADAD-809AD74A12EC}" destId="{7F8EF875-57B6-4E4C-8A10-BE7EFCBC0BB1}" srcOrd="0" destOrd="0" presId="urn:microsoft.com/office/officeart/2008/layout/VerticalCurvedList"/>
    <dgm:cxn modelId="{A6A8255E-D390-4D9C-B836-25F225A0FEC6}" srcId="{4C1278E0-518F-4769-B7C8-A287E7695598}" destId="{2BD9EDD3-5A1B-4590-ADAD-809AD74A12EC}" srcOrd="0" destOrd="0" parTransId="{2CB77CF7-EE66-4804-959C-AD0F70CCEF1A}" sibTransId="{B16D06B8-EF0E-4975-A917-B979DF65E536}"/>
    <dgm:cxn modelId="{31594F6F-1788-4BAB-A249-9523955840D9}" type="presOf" srcId="{4C1278E0-518F-4769-B7C8-A287E7695598}" destId="{B268C4B4-C122-4D0F-B69C-BB8745E3A3DD}" srcOrd="0" destOrd="0" presId="urn:microsoft.com/office/officeart/2008/layout/VerticalCurvedList"/>
    <dgm:cxn modelId="{83349C8F-7E98-48B5-A046-464D16744A40}" type="presOf" srcId="{F0CC0F94-C265-4F27-98EC-38A46BCB4310}" destId="{9B383488-EEF7-4927-AC97-927680A96CAD}" srcOrd="0" destOrd="0" presId="urn:microsoft.com/office/officeart/2008/layout/VerticalCurvedList"/>
    <dgm:cxn modelId="{5E44CEB4-A4D6-4BFA-8303-12DEBA24D64F}" type="presOf" srcId="{B16D06B8-EF0E-4975-A917-B979DF65E536}" destId="{B174ABE9-A050-4132-B764-2DB3DD441ED1}" srcOrd="0" destOrd="0" presId="urn:microsoft.com/office/officeart/2008/layout/VerticalCurvedList"/>
    <dgm:cxn modelId="{E6464BEE-BBEB-4804-BD33-66FF43811AB5}" srcId="{4C1278E0-518F-4769-B7C8-A287E7695598}" destId="{F0CC0F94-C265-4F27-98EC-38A46BCB4310}" srcOrd="1" destOrd="0" parTransId="{711DE623-8F36-40D8-A03B-E410A3905A3A}" sibTransId="{5B4D1625-F753-425D-BFFD-ADB0118C4F05}"/>
    <dgm:cxn modelId="{D5E4D3FF-8BA4-4CFB-80FA-567BAFFFE4FC}" type="presParOf" srcId="{B268C4B4-C122-4D0F-B69C-BB8745E3A3DD}" destId="{AF3BE7C3-2985-4415-9D0B-2F65AF079E16}" srcOrd="0" destOrd="0" presId="urn:microsoft.com/office/officeart/2008/layout/VerticalCurvedList"/>
    <dgm:cxn modelId="{205C789C-0234-453D-AF7E-AF01CF95E2E5}" type="presParOf" srcId="{AF3BE7C3-2985-4415-9D0B-2F65AF079E16}" destId="{B8E1FF46-CB5B-48BB-B0D3-66A611B189BB}" srcOrd="0" destOrd="0" presId="urn:microsoft.com/office/officeart/2008/layout/VerticalCurvedList"/>
    <dgm:cxn modelId="{B6AEA63C-22F4-41E4-A844-7A94464FCF89}" type="presParOf" srcId="{B8E1FF46-CB5B-48BB-B0D3-66A611B189BB}" destId="{0C895D8E-38E2-4A7E-AC09-03C9782BA739}" srcOrd="0" destOrd="0" presId="urn:microsoft.com/office/officeart/2008/layout/VerticalCurvedList"/>
    <dgm:cxn modelId="{528F882B-796A-4E7A-BAD2-C3C0039EDE8B}" type="presParOf" srcId="{B8E1FF46-CB5B-48BB-B0D3-66A611B189BB}" destId="{B174ABE9-A050-4132-B764-2DB3DD441ED1}" srcOrd="1" destOrd="0" presId="urn:microsoft.com/office/officeart/2008/layout/VerticalCurvedList"/>
    <dgm:cxn modelId="{2EF4A755-CFE2-4B4A-82A0-20CBC784B42D}" type="presParOf" srcId="{B8E1FF46-CB5B-48BB-B0D3-66A611B189BB}" destId="{5DE1571F-130B-49E5-B821-F3793FDD4973}" srcOrd="2" destOrd="0" presId="urn:microsoft.com/office/officeart/2008/layout/VerticalCurvedList"/>
    <dgm:cxn modelId="{2434673C-716C-4F96-9F5E-1658B64FC95E}" type="presParOf" srcId="{B8E1FF46-CB5B-48BB-B0D3-66A611B189BB}" destId="{211AEB76-CDD2-4918-97A2-8472F9DDE20F}" srcOrd="3" destOrd="0" presId="urn:microsoft.com/office/officeart/2008/layout/VerticalCurvedList"/>
    <dgm:cxn modelId="{71F13DBA-5831-4F9C-8C85-B035FE4AABE7}" type="presParOf" srcId="{AF3BE7C3-2985-4415-9D0B-2F65AF079E16}" destId="{7F8EF875-57B6-4E4C-8A10-BE7EFCBC0BB1}" srcOrd="1" destOrd="0" presId="urn:microsoft.com/office/officeart/2008/layout/VerticalCurvedList"/>
    <dgm:cxn modelId="{33E8F5C2-92CA-4178-96C6-A6C0C0793804}" type="presParOf" srcId="{AF3BE7C3-2985-4415-9D0B-2F65AF079E16}" destId="{81004FDC-1A1C-4B3D-A460-48B6D4845BB2}" srcOrd="2" destOrd="0" presId="urn:microsoft.com/office/officeart/2008/layout/VerticalCurvedList"/>
    <dgm:cxn modelId="{71A933D5-46B9-4830-BD5D-7809E28E4DF4}" type="presParOf" srcId="{81004FDC-1A1C-4B3D-A460-48B6D4845BB2}" destId="{45136930-ACDF-4779-AE31-B5F03FB4B4B6}" srcOrd="0" destOrd="0" presId="urn:microsoft.com/office/officeart/2008/layout/VerticalCurvedList"/>
    <dgm:cxn modelId="{3E5E4AB6-D315-4EBD-B376-79513A533B10}" type="presParOf" srcId="{AF3BE7C3-2985-4415-9D0B-2F65AF079E16}" destId="{9B383488-EEF7-4927-AC97-927680A96CAD}" srcOrd="3" destOrd="0" presId="urn:microsoft.com/office/officeart/2008/layout/VerticalCurvedList"/>
    <dgm:cxn modelId="{948A5CB9-988D-4AD7-9F15-8E4081FCD26A}" type="presParOf" srcId="{AF3BE7C3-2985-4415-9D0B-2F65AF079E16}" destId="{3BD76C5B-D695-44B2-BA3F-083C1513C571}" srcOrd="4" destOrd="0" presId="urn:microsoft.com/office/officeart/2008/layout/VerticalCurvedList"/>
    <dgm:cxn modelId="{480F0FF3-0098-4111-80EE-8667DDFCB8FA}" type="presParOf" srcId="{3BD76C5B-D695-44B2-BA3F-083C1513C571}" destId="{5A511229-F29A-4B4B-994A-F1410CE29813}"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C1278E0-518F-4769-B7C8-A287E7695598}"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2BD9EDD3-5A1B-4590-ADAD-809AD74A12EC}">
      <dgm:prSet phldrT="[Text]" custT="1"/>
      <dgm:spPr/>
      <dgm:t>
        <a:bodyPr/>
        <a:lstStyle/>
        <a:p>
          <a:pPr>
            <a:buClrTx/>
            <a:buSzTx/>
            <a:buFont typeface="Arial" panose="020B0604020202020204" pitchFamily="34" charset="0"/>
            <a:buNone/>
          </a:pPr>
          <a:r>
            <a:rPr lang="de-DE" sz="3200" b="0" i="0" u="none" dirty="0" err="1">
              <a:solidFill>
                <a:schemeClr val="bg1">
                  <a:lumMod val="85000"/>
                </a:schemeClr>
              </a:solidFill>
              <a:latin typeface="Arial" panose="020B0604020202020204" pitchFamily="34" charset="0"/>
            </a:rPr>
            <a:t>Overview</a:t>
          </a:r>
          <a:r>
            <a:rPr lang="de-DE" sz="3200" b="0" i="0" u="none" dirty="0">
              <a:solidFill>
                <a:schemeClr val="bg1">
                  <a:lumMod val="85000"/>
                </a:schemeClr>
              </a:solidFill>
              <a:latin typeface="Arial" panose="020B0604020202020204" pitchFamily="34" charset="0"/>
            </a:rPr>
            <a:t> </a:t>
          </a:r>
          <a:r>
            <a:rPr lang="de-DE" sz="3200" b="0" i="0" u="none" dirty="0" err="1">
              <a:solidFill>
                <a:schemeClr val="bg1">
                  <a:lumMod val="85000"/>
                </a:schemeClr>
              </a:solidFill>
              <a:latin typeface="Arial" panose="020B0604020202020204" pitchFamily="34" charset="0"/>
            </a:rPr>
            <a:t>of</a:t>
          </a:r>
          <a:r>
            <a:rPr lang="de-DE" sz="3200" b="0" i="0" u="none" dirty="0">
              <a:solidFill>
                <a:schemeClr val="bg1">
                  <a:lumMod val="85000"/>
                </a:schemeClr>
              </a:solidFill>
              <a:latin typeface="Arial" panose="020B0604020202020204" pitchFamily="34" charset="0"/>
            </a:rPr>
            <a:t> </a:t>
          </a:r>
          <a:r>
            <a:rPr lang="de-DE" sz="3200" b="0" i="0" u="none" dirty="0" err="1">
              <a:solidFill>
                <a:schemeClr val="bg1">
                  <a:lumMod val="85000"/>
                </a:schemeClr>
              </a:solidFill>
              <a:latin typeface="Arial" panose="020B0604020202020204" pitchFamily="34" charset="0"/>
            </a:rPr>
            <a:t>threats</a:t>
          </a:r>
          <a:r>
            <a:rPr lang="de-DE" sz="3200" b="0" i="0" u="none" dirty="0">
              <a:solidFill>
                <a:schemeClr val="bg1">
                  <a:lumMod val="85000"/>
                </a:schemeClr>
              </a:solidFill>
              <a:latin typeface="Arial" panose="020B0604020202020204" pitchFamily="34" charset="0"/>
            </a:rPr>
            <a:t> and </a:t>
          </a:r>
          <a:r>
            <a:rPr lang="de-DE" sz="3200" b="0" i="0" u="none" dirty="0" err="1">
              <a:solidFill>
                <a:schemeClr val="bg1">
                  <a:lumMod val="85000"/>
                </a:schemeClr>
              </a:solidFill>
              <a:latin typeface="Arial" panose="020B0604020202020204" pitchFamily="34" charset="0"/>
            </a:rPr>
            <a:t>attacks</a:t>
          </a:r>
          <a:r>
            <a:rPr lang="de-DE" sz="3200" b="0" i="0" u="none" dirty="0">
              <a:solidFill>
                <a:schemeClr val="bg1">
                  <a:lumMod val="85000"/>
                </a:schemeClr>
              </a:solidFill>
              <a:latin typeface="Arial" panose="020B0604020202020204" pitchFamily="34" charset="0"/>
            </a:rPr>
            <a:t> </a:t>
          </a:r>
          <a:r>
            <a:rPr lang="de-DE" sz="3200" b="0" i="0" u="none" dirty="0" err="1">
              <a:solidFill>
                <a:schemeClr val="bg1">
                  <a:lumMod val="85000"/>
                </a:schemeClr>
              </a:solidFill>
              <a:latin typeface="Arial" panose="020B0604020202020204" pitchFamily="34" charset="0"/>
            </a:rPr>
            <a:t>trends</a:t>
          </a:r>
          <a:endParaRPr lang="en-US" sz="3200" dirty="0">
            <a:solidFill>
              <a:schemeClr val="bg1">
                <a:lumMod val="85000"/>
              </a:schemeClr>
            </a:solidFill>
          </a:endParaRPr>
        </a:p>
      </dgm:t>
    </dgm:pt>
    <dgm:pt modelId="{2CB77CF7-EE66-4804-959C-AD0F70CCEF1A}" type="parTrans" cxnId="{A6A8255E-D390-4D9C-B836-25F225A0FEC6}">
      <dgm:prSet/>
      <dgm:spPr/>
      <dgm:t>
        <a:bodyPr/>
        <a:lstStyle/>
        <a:p>
          <a:endParaRPr lang="en-US"/>
        </a:p>
      </dgm:t>
    </dgm:pt>
    <dgm:pt modelId="{B16D06B8-EF0E-4975-A917-B979DF65E536}" type="sibTrans" cxnId="{A6A8255E-D390-4D9C-B836-25F225A0FEC6}">
      <dgm:prSet/>
      <dgm:spPr/>
      <dgm:t>
        <a:bodyPr/>
        <a:lstStyle/>
        <a:p>
          <a:endParaRPr lang="en-US"/>
        </a:p>
      </dgm:t>
    </dgm:pt>
    <dgm:pt modelId="{F0CC0F94-C265-4F27-98EC-38A46BCB4310}">
      <dgm:prSet phldrT="[Text]" custT="1"/>
      <dgm:spPr/>
      <dgm:t>
        <a:bodyPr/>
        <a:lstStyle/>
        <a:p>
          <a:r>
            <a:rPr lang="de-DE" sz="3200" b="0" i="0" u="none" dirty="0">
              <a:solidFill>
                <a:schemeClr val="tx1"/>
              </a:solidFill>
            </a:rPr>
            <a:t>Review </a:t>
          </a:r>
          <a:r>
            <a:rPr lang="de-DE" sz="3200" b="0" i="0" u="none" dirty="0" err="1">
              <a:solidFill>
                <a:schemeClr val="tx1"/>
              </a:solidFill>
            </a:rPr>
            <a:t>of</a:t>
          </a:r>
          <a:r>
            <a:rPr lang="de-DE" sz="3200" b="0" i="0" u="none" dirty="0">
              <a:solidFill>
                <a:schemeClr val="tx1"/>
              </a:solidFill>
            </a:rPr>
            <a:t> </a:t>
          </a:r>
          <a:r>
            <a:rPr lang="de-DE" sz="3200" b="0" i="0" u="none" dirty="0" err="1">
              <a:solidFill>
                <a:schemeClr val="tx1"/>
              </a:solidFill>
            </a:rPr>
            <a:t>attack</a:t>
          </a:r>
          <a:r>
            <a:rPr lang="de-DE" sz="3200" b="0" i="0" u="none" dirty="0">
              <a:solidFill>
                <a:schemeClr val="tx1"/>
              </a:solidFill>
            </a:rPr>
            <a:t> </a:t>
          </a:r>
          <a:r>
            <a:rPr lang="de-DE" sz="3200" b="0" i="0" u="none" dirty="0" err="1">
              <a:solidFill>
                <a:schemeClr val="tx1"/>
              </a:solidFill>
            </a:rPr>
            <a:t>examples</a:t>
          </a:r>
          <a:endParaRPr lang="en-US" sz="3200" dirty="0">
            <a:solidFill>
              <a:schemeClr val="tx1"/>
            </a:solidFill>
          </a:endParaRPr>
        </a:p>
      </dgm:t>
    </dgm:pt>
    <dgm:pt modelId="{711DE623-8F36-40D8-A03B-E410A3905A3A}" type="parTrans" cxnId="{E6464BEE-BBEB-4804-BD33-66FF43811AB5}">
      <dgm:prSet/>
      <dgm:spPr/>
      <dgm:t>
        <a:bodyPr/>
        <a:lstStyle/>
        <a:p>
          <a:endParaRPr lang="en-US"/>
        </a:p>
      </dgm:t>
    </dgm:pt>
    <dgm:pt modelId="{5B4D1625-F753-425D-BFFD-ADB0118C4F05}" type="sibTrans" cxnId="{E6464BEE-BBEB-4804-BD33-66FF43811AB5}">
      <dgm:prSet/>
      <dgm:spPr/>
      <dgm:t>
        <a:bodyPr/>
        <a:lstStyle/>
        <a:p>
          <a:endParaRPr lang="en-US"/>
        </a:p>
      </dgm:t>
    </dgm:pt>
    <dgm:pt modelId="{B268C4B4-C122-4D0F-B69C-BB8745E3A3DD}" type="pres">
      <dgm:prSet presAssocID="{4C1278E0-518F-4769-B7C8-A287E7695598}" presName="Name0" presStyleCnt="0">
        <dgm:presLayoutVars>
          <dgm:chMax val="7"/>
          <dgm:chPref val="7"/>
          <dgm:dir/>
        </dgm:presLayoutVars>
      </dgm:prSet>
      <dgm:spPr/>
    </dgm:pt>
    <dgm:pt modelId="{AF3BE7C3-2985-4415-9D0B-2F65AF079E16}" type="pres">
      <dgm:prSet presAssocID="{4C1278E0-518F-4769-B7C8-A287E7695598}" presName="Name1" presStyleCnt="0"/>
      <dgm:spPr/>
    </dgm:pt>
    <dgm:pt modelId="{B8E1FF46-CB5B-48BB-B0D3-66A611B189BB}" type="pres">
      <dgm:prSet presAssocID="{4C1278E0-518F-4769-B7C8-A287E7695598}" presName="cycle" presStyleCnt="0"/>
      <dgm:spPr/>
    </dgm:pt>
    <dgm:pt modelId="{0C895D8E-38E2-4A7E-AC09-03C9782BA739}" type="pres">
      <dgm:prSet presAssocID="{4C1278E0-518F-4769-B7C8-A287E7695598}" presName="srcNode" presStyleLbl="node1" presStyleIdx="0" presStyleCnt="2"/>
      <dgm:spPr/>
    </dgm:pt>
    <dgm:pt modelId="{B174ABE9-A050-4132-B764-2DB3DD441ED1}" type="pres">
      <dgm:prSet presAssocID="{4C1278E0-518F-4769-B7C8-A287E7695598}" presName="conn" presStyleLbl="parChTrans1D2" presStyleIdx="0" presStyleCnt="1"/>
      <dgm:spPr/>
    </dgm:pt>
    <dgm:pt modelId="{5DE1571F-130B-49E5-B821-F3793FDD4973}" type="pres">
      <dgm:prSet presAssocID="{4C1278E0-518F-4769-B7C8-A287E7695598}" presName="extraNode" presStyleLbl="node1" presStyleIdx="0" presStyleCnt="2"/>
      <dgm:spPr/>
    </dgm:pt>
    <dgm:pt modelId="{211AEB76-CDD2-4918-97A2-8472F9DDE20F}" type="pres">
      <dgm:prSet presAssocID="{4C1278E0-518F-4769-B7C8-A287E7695598}" presName="dstNode" presStyleLbl="node1" presStyleIdx="0" presStyleCnt="2"/>
      <dgm:spPr/>
    </dgm:pt>
    <dgm:pt modelId="{7F8EF875-57B6-4E4C-8A10-BE7EFCBC0BB1}" type="pres">
      <dgm:prSet presAssocID="{2BD9EDD3-5A1B-4590-ADAD-809AD74A12EC}" presName="text_1" presStyleLbl="node1" presStyleIdx="0" presStyleCnt="2">
        <dgm:presLayoutVars>
          <dgm:bulletEnabled val="1"/>
        </dgm:presLayoutVars>
      </dgm:prSet>
      <dgm:spPr/>
    </dgm:pt>
    <dgm:pt modelId="{81004FDC-1A1C-4B3D-A460-48B6D4845BB2}" type="pres">
      <dgm:prSet presAssocID="{2BD9EDD3-5A1B-4590-ADAD-809AD74A12EC}" presName="accent_1" presStyleCnt="0"/>
      <dgm:spPr/>
    </dgm:pt>
    <dgm:pt modelId="{45136930-ACDF-4779-AE31-B5F03FB4B4B6}" type="pres">
      <dgm:prSet presAssocID="{2BD9EDD3-5A1B-4590-ADAD-809AD74A12EC}" presName="accentRepeatNode" presStyleLbl="solidFgAcc1" presStyleIdx="0" presStyleCnt="2"/>
      <dgm:spPr/>
    </dgm:pt>
    <dgm:pt modelId="{9B383488-EEF7-4927-AC97-927680A96CAD}" type="pres">
      <dgm:prSet presAssocID="{F0CC0F94-C265-4F27-98EC-38A46BCB4310}" presName="text_2" presStyleLbl="node1" presStyleIdx="1" presStyleCnt="2">
        <dgm:presLayoutVars>
          <dgm:bulletEnabled val="1"/>
        </dgm:presLayoutVars>
      </dgm:prSet>
      <dgm:spPr/>
    </dgm:pt>
    <dgm:pt modelId="{3BD76C5B-D695-44B2-BA3F-083C1513C571}" type="pres">
      <dgm:prSet presAssocID="{F0CC0F94-C265-4F27-98EC-38A46BCB4310}" presName="accent_2" presStyleCnt="0"/>
      <dgm:spPr/>
    </dgm:pt>
    <dgm:pt modelId="{5A511229-F29A-4B4B-994A-F1410CE29813}" type="pres">
      <dgm:prSet presAssocID="{F0CC0F94-C265-4F27-98EC-38A46BCB4310}" presName="accentRepeatNode" presStyleLbl="solidFgAcc1" presStyleIdx="1" presStyleCnt="2"/>
      <dgm:spPr/>
    </dgm:pt>
  </dgm:ptLst>
  <dgm:cxnLst>
    <dgm:cxn modelId="{29A32B12-04F7-47DB-868C-EB0ACFA6A908}" type="presOf" srcId="{2BD9EDD3-5A1B-4590-ADAD-809AD74A12EC}" destId="{7F8EF875-57B6-4E4C-8A10-BE7EFCBC0BB1}" srcOrd="0" destOrd="0" presId="urn:microsoft.com/office/officeart/2008/layout/VerticalCurvedList"/>
    <dgm:cxn modelId="{A6A8255E-D390-4D9C-B836-25F225A0FEC6}" srcId="{4C1278E0-518F-4769-B7C8-A287E7695598}" destId="{2BD9EDD3-5A1B-4590-ADAD-809AD74A12EC}" srcOrd="0" destOrd="0" parTransId="{2CB77CF7-EE66-4804-959C-AD0F70CCEF1A}" sibTransId="{B16D06B8-EF0E-4975-A917-B979DF65E536}"/>
    <dgm:cxn modelId="{31594F6F-1788-4BAB-A249-9523955840D9}" type="presOf" srcId="{4C1278E0-518F-4769-B7C8-A287E7695598}" destId="{B268C4B4-C122-4D0F-B69C-BB8745E3A3DD}" srcOrd="0" destOrd="0" presId="urn:microsoft.com/office/officeart/2008/layout/VerticalCurvedList"/>
    <dgm:cxn modelId="{83349C8F-7E98-48B5-A046-464D16744A40}" type="presOf" srcId="{F0CC0F94-C265-4F27-98EC-38A46BCB4310}" destId="{9B383488-EEF7-4927-AC97-927680A96CAD}" srcOrd="0" destOrd="0" presId="urn:microsoft.com/office/officeart/2008/layout/VerticalCurvedList"/>
    <dgm:cxn modelId="{5E44CEB4-A4D6-4BFA-8303-12DEBA24D64F}" type="presOf" srcId="{B16D06B8-EF0E-4975-A917-B979DF65E536}" destId="{B174ABE9-A050-4132-B764-2DB3DD441ED1}" srcOrd="0" destOrd="0" presId="urn:microsoft.com/office/officeart/2008/layout/VerticalCurvedList"/>
    <dgm:cxn modelId="{E6464BEE-BBEB-4804-BD33-66FF43811AB5}" srcId="{4C1278E0-518F-4769-B7C8-A287E7695598}" destId="{F0CC0F94-C265-4F27-98EC-38A46BCB4310}" srcOrd="1" destOrd="0" parTransId="{711DE623-8F36-40D8-A03B-E410A3905A3A}" sibTransId="{5B4D1625-F753-425D-BFFD-ADB0118C4F05}"/>
    <dgm:cxn modelId="{D5E4D3FF-8BA4-4CFB-80FA-567BAFFFE4FC}" type="presParOf" srcId="{B268C4B4-C122-4D0F-B69C-BB8745E3A3DD}" destId="{AF3BE7C3-2985-4415-9D0B-2F65AF079E16}" srcOrd="0" destOrd="0" presId="urn:microsoft.com/office/officeart/2008/layout/VerticalCurvedList"/>
    <dgm:cxn modelId="{205C789C-0234-453D-AF7E-AF01CF95E2E5}" type="presParOf" srcId="{AF3BE7C3-2985-4415-9D0B-2F65AF079E16}" destId="{B8E1FF46-CB5B-48BB-B0D3-66A611B189BB}" srcOrd="0" destOrd="0" presId="urn:microsoft.com/office/officeart/2008/layout/VerticalCurvedList"/>
    <dgm:cxn modelId="{B6AEA63C-22F4-41E4-A844-7A94464FCF89}" type="presParOf" srcId="{B8E1FF46-CB5B-48BB-B0D3-66A611B189BB}" destId="{0C895D8E-38E2-4A7E-AC09-03C9782BA739}" srcOrd="0" destOrd="0" presId="urn:microsoft.com/office/officeart/2008/layout/VerticalCurvedList"/>
    <dgm:cxn modelId="{528F882B-796A-4E7A-BAD2-C3C0039EDE8B}" type="presParOf" srcId="{B8E1FF46-CB5B-48BB-B0D3-66A611B189BB}" destId="{B174ABE9-A050-4132-B764-2DB3DD441ED1}" srcOrd="1" destOrd="0" presId="urn:microsoft.com/office/officeart/2008/layout/VerticalCurvedList"/>
    <dgm:cxn modelId="{2EF4A755-CFE2-4B4A-82A0-20CBC784B42D}" type="presParOf" srcId="{B8E1FF46-CB5B-48BB-B0D3-66A611B189BB}" destId="{5DE1571F-130B-49E5-B821-F3793FDD4973}" srcOrd="2" destOrd="0" presId="urn:microsoft.com/office/officeart/2008/layout/VerticalCurvedList"/>
    <dgm:cxn modelId="{2434673C-716C-4F96-9F5E-1658B64FC95E}" type="presParOf" srcId="{B8E1FF46-CB5B-48BB-B0D3-66A611B189BB}" destId="{211AEB76-CDD2-4918-97A2-8472F9DDE20F}" srcOrd="3" destOrd="0" presId="urn:microsoft.com/office/officeart/2008/layout/VerticalCurvedList"/>
    <dgm:cxn modelId="{71F13DBA-5831-4F9C-8C85-B035FE4AABE7}" type="presParOf" srcId="{AF3BE7C3-2985-4415-9D0B-2F65AF079E16}" destId="{7F8EF875-57B6-4E4C-8A10-BE7EFCBC0BB1}" srcOrd="1" destOrd="0" presId="urn:microsoft.com/office/officeart/2008/layout/VerticalCurvedList"/>
    <dgm:cxn modelId="{33E8F5C2-92CA-4178-96C6-A6C0C0793804}" type="presParOf" srcId="{AF3BE7C3-2985-4415-9D0B-2F65AF079E16}" destId="{81004FDC-1A1C-4B3D-A460-48B6D4845BB2}" srcOrd="2" destOrd="0" presId="urn:microsoft.com/office/officeart/2008/layout/VerticalCurvedList"/>
    <dgm:cxn modelId="{71A933D5-46B9-4830-BD5D-7809E28E4DF4}" type="presParOf" srcId="{81004FDC-1A1C-4B3D-A460-48B6D4845BB2}" destId="{45136930-ACDF-4779-AE31-B5F03FB4B4B6}" srcOrd="0" destOrd="0" presId="urn:microsoft.com/office/officeart/2008/layout/VerticalCurvedList"/>
    <dgm:cxn modelId="{3E5E4AB6-D315-4EBD-B376-79513A533B10}" type="presParOf" srcId="{AF3BE7C3-2985-4415-9D0B-2F65AF079E16}" destId="{9B383488-EEF7-4927-AC97-927680A96CAD}" srcOrd="3" destOrd="0" presId="urn:microsoft.com/office/officeart/2008/layout/VerticalCurvedList"/>
    <dgm:cxn modelId="{948A5CB9-988D-4AD7-9F15-8E4081FCD26A}" type="presParOf" srcId="{AF3BE7C3-2985-4415-9D0B-2F65AF079E16}" destId="{3BD76C5B-D695-44B2-BA3F-083C1513C571}" srcOrd="4" destOrd="0" presId="urn:microsoft.com/office/officeart/2008/layout/VerticalCurvedList"/>
    <dgm:cxn modelId="{480F0FF3-0098-4111-80EE-8667DDFCB8FA}" type="presParOf" srcId="{3BD76C5B-D695-44B2-BA3F-083C1513C571}" destId="{5A511229-F29A-4B4B-994A-F1410CE29813}"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74ABE9-A050-4132-B764-2DB3DD441ED1}">
      <dsp:nvSpPr>
        <dsp:cNvPr id="0" name=""/>
        <dsp:cNvSpPr/>
      </dsp:nvSpPr>
      <dsp:spPr>
        <a:xfrm>
          <a:off x="-5744461" y="-886077"/>
          <a:ext cx="6892371" cy="6892371"/>
        </a:xfrm>
        <a:prstGeom prst="blockArc">
          <a:avLst>
            <a:gd name="adj1" fmla="val 18900000"/>
            <a:gd name="adj2" fmla="val 2700000"/>
            <a:gd name="adj3" fmla="val 313"/>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F8EF875-57B6-4E4C-8A10-BE7EFCBC0BB1}">
      <dsp:nvSpPr>
        <dsp:cNvPr id="0" name=""/>
        <dsp:cNvSpPr/>
      </dsp:nvSpPr>
      <dsp:spPr>
        <a:xfrm>
          <a:off x="941223" y="731474"/>
          <a:ext cx="6712091" cy="14627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61053" tIns="81280" rIns="81280" bIns="81280" numCol="1" spcCol="1270" anchor="ctr" anchorCtr="0">
          <a:noAutofit/>
        </a:bodyPr>
        <a:lstStyle/>
        <a:p>
          <a:pPr marL="0" lvl="0" indent="0" algn="l" defTabSz="1422400">
            <a:lnSpc>
              <a:spcPct val="90000"/>
            </a:lnSpc>
            <a:spcBef>
              <a:spcPct val="0"/>
            </a:spcBef>
            <a:spcAft>
              <a:spcPct val="35000"/>
            </a:spcAft>
            <a:buClrTx/>
            <a:buSzTx/>
            <a:buFont typeface="Arial" panose="020B0604020202020204" pitchFamily="34" charset="0"/>
            <a:buNone/>
          </a:pPr>
          <a:r>
            <a:rPr lang="de-DE" sz="3200" b="0" i="0" u="none" kern="1200" dirty="0" err="1">
              <a:solidFill>
                <a:schemeClr val="tx1"/>
              </a:solidFill>
              <a:latin typeface="Arial" panose="020B0604020202020204" pitchFamily="34" charset="0"/>
            </a:rPr>
            <a:t>Overview</a:t>
          </a:r>
          <a:r>
            <a:rPr lang="de-DE" sz="3200" b="0" i="0" u="none" kern="1200" dirty="0">
              <a:solidFill>
                <a:schemeClr val="tx1"/>
              </a:solidFill>
              <a:latin typeface="Arial" panose="020B0604020202020204" pitchFamily="34" charset="0"/>
            </a:rPr>
            <a:t> </a:t>
          </a:r>
          <a:r>
            <a:rPr lang="de-DE" sz="3200" b="0" i="0" u="none" kern="1200" dirty="0" err="1">
              <a:solidFill>
                <a:schemeClr val="tx1"/>
              </a:solidFill>
              <a:latin typeface="Arial" panose="020B0604020202020204" pitchFamily="34" charset="0"/>
            </a:rPr>
            <a:t>of</a:t>
          </a:r>
          <a:r>
            <a:rPr lang="de-DE" sz="3200" b="0" i="0" u="none" kern="1200" dirty="0">
              <a:solidFill>
                <a:schemeClr val="tx1"/>
              </a:solidFill>
              <a:latin typeface="Arial" panose="020B0604020202020204" pitchFamily="34" charset="0"/>
            </a:rPr>
            <a:t> </a:t>
          </a:r>
          <a:r>
            <a:rPr lang="de-DE" sz="3200" b="0" i="0" u="none" kern="1200" dirty="0" err="1">
              <a:solidFill>
                <a:schemeClr val="tx1"/>
              </a:solidFill>
              <a:latin typeface="Arial" panose="020B0604020202020204" pitchFamily="34" charset="0"/>
            </a:rPr>
            <a:t>threats</a:t>
          </a:r>
          <a:r>
            <a:rPr lang="de-DE" sz="3200" b="0" i="0" u="none" kern="1200" dirty="0">
              <a:solidFill>
                <a:schemeClr val="tx1"/>
              </a:solidFill>
              <a:latin typeface="Arial" panose="020B0604020202020204" pitchFamily="34" charset="0"/>
            </a:rPr>
            <a:t> and </a:t>
          </a:r>
          <a:r>
            <a:rPr lang="de-DE" sz="3200" b="0" i="0" u="none" kern="1200" dirty="0" err="1">
              <a:solidFill>
                <a:schemeClr val="tx1"/>
              </a:solidFill>
              <a:latin typeface="Arial" panose="020B0604020202020204" pitchFamily="34" charset="0"/>
            </a:rPr>
            <a:t>attacks</a:t>
          </a:r>
          <a:r>
            <a:rPr lang="de-DE" sz="3200" b="0" i="0" u="none" kern="1200" dirty="0">
              <a:solidFill>
                <a:schemeClr val="tx1"/>
              </a:solidFill>
              <a:latin typeface="Arial" panose="020B0604020202020204" pitchFamily="34" charset="0"/>
            </a:rPr>
            <a:t> </a:t>
          </a:r>
          <a:r>
            <a:rPr lang="de-DE" sz="3200" b="0" i="0" u="none" kern="1200" dirty="0" err="1">
              <a:solidFill>
                <a:schemeClr val="tx1"/>
              </a:solidFill>
              <a:latin typeface="Arial" panose="020B0604020202020204" pitchFamily="34" charset="0"/>
            </a:rPr>
            <a:t>trends</a:t>
          </a:r>
          <a:endParaRPr lang="en-US" sz="3200" kern="1200" dirty="0">
            <a:solidFill>
              <a:schemeClr val="tx1"/>
            </a:solidFill>
          </a:endParaRPr>
        </a:p>
      </dsp:txBody>
      <dsp:txXfrm>
        <a:off x="941223" y="731474"/>
        <a:ext cx="6712091" cy="1462743"/>
      </dsp:txXfrm>
    </dsp:sp>
    <dsp:sp modelId="{45136930-ACDF-4779-AE31-B5F03FB4B4B6}">
      <dsp:nvSpPr>
        <dsp:cNvPr id="0" name=""/>
        <dsp:cNvSpPr/>
      </dsp:nvSpPr>
      <dsp:spPr>
        <a:xfrm>
          <a:off x="27009" y="548631"/>
          <a:ext cx="1828429" cy="1828429"/>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B383488-EEF7-4927-AC97-927680A96CAD}">
      <dsp:nvSpPr>
        <dsp:cNvPr id="0" name=""/>
        <dsp:cNvSpPr/>
      </dsp:nvSpPr>
      <dsp:spPr>
        <a:xfrm>
          <a:off x="941223" y="2925999"/>
          <a:ext cx="6712091" cy="14627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61053" tIns="81280" rIns="81280" bIns="81280" numCol="1" spcCol="1270" anchor="ctr" anchorCtr="0">
          <a:noAutofit/>
        </a:bodyPr>
        <a:lstStyle/>
        <a:p>
          <a:pPr marL="0" lvl="0" indent="0" algn="l" defTabSz="1422400">
            <a:lnSpc>
              <a:spcPct val="90000"/>
            </a:lnSpc>
            <a:spcBef>
              <a:spcPct val="0"/>
            </a:spcBef>
            <a:spcAft>
              <a:spcPct val="35000"/>
            </a:spcAft>
            <a:buNone/>
          </a:pPr>
          <a:r>
            <a:rPr lang="de-DE" sz="3200" b="0" i="0" u="none" kern="1200" dirty="0">
              <a:solidFill>
                <a:schemeClr val="tx1"/>
              </a:solidFill>
            </a:rPr>
            <a:t>Review </a:t>
          </a:r>
          <a:r>
            <a:rPr lang="de-DE" sz="3200" b="0" i="0" u="none" kern="1200" dirty="0" err="1">
              <a:solidFill>
                <a:schemeClr val="tx1"/>
              </a:solidFill>
            </a:rPr>
            <a:t>of</a:t>
          </a:r>
          <a:r>
            <a:rPr lang="de-DE" sz="3200" b="0" i="0" u="none" kern="1200" dirty="0">
              <a:solidFill>
                <a:schemeClr val="tx1"/>
              </a:solidFill>
            </a:rPr>
            <a:t> </a:t>
          </a:r>
          <a:r>
            <a:rPr lang="de-DE" sz="3200" b="0" i="0" u="none" kern="1200" dirty="0" err="1">
              <a:solidFill>
                <a:schemeClr val="tx1"/>
              </a:solidFill>
            </a:rPr>
            <a:t>attack</a:t>
          </a:r>
          <a:r>
            <a:rPr lang="de-DE" sz="3200" b="0" i="0" u="none" kern="1200" dirty="0">
              <a:solidFill>
                <a:schemeClr val="tx1"/>
              </a:solidFill>
            </a:rPr>
            <a:t> </a:t>
          </a:r>
          <a:r>
            <a:rPr lang="de-DE" sz="3200" b="0" i="0" u="none" kern="1200" dirty="0" err="1">
              <a:solidFill>
                <a:schemeClr val="tx1"/>
              </a:solidFill>
            </a:rPr>
            <a:t>examples</a:t>
          </a:r>
          <a:endParaRPr lang="en-US" sz="3200" kern="1200" dirty="0">
            <a:solidFill>
              <a:schemeClr val="tx1"/>
            </a:solidFill>
          </a:endParaRPr>
        </a:p>
      </dsp:txBody>
      <dsp:txXfrm>
        <a:off x="941223" y="2925999"/>
        <a:ext cx="6712091" cy="1462743"/>
      </dsp:txXfrm>
    </dsp:sp>
    <dsp:sp modelId="{5A511229-F29A-4B4B-994A-F1410CE29813}">
      <dsp:nvSpPr>
        <dsp:cNvPr id="0" name=""/>
        <dsp:cNvSpPr/>
      </dsp:nvSpPr>
      <dsp:spPr>
        <a:xfrm>
          <a:off x="27009" y="2743156"/>
          <a:ext cx="1828429" cy="1828429"/>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74ABE9-A050-4132-B764-2DB3DD441ED1}">
      <dsp:nvSpPr>
        <dsp:cNvPr id="0" name=""/>
        <dsp:cNvSpPr/>
      </dsp:nvSpPr>
      <dsp:spPr>
        <a:xfrm>
          <a:off x="-5744461" y="-886077"/>
          <a:ext cx="6892371" cy="6892371"/>
        </a:xfrm>
        <a:prstGeom prst="blockArc">
          <a:avLst>
            <a:gd name="adj1" fmla="val 18900000"/>
            <a:gd name="adj2" fmla="val 2700000"/>
            <a:gd name="adj3" fmla="val 313"/>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F8EF875-57B6-4E4C-8A10-BE7EFCBC0BB1}">
      <dsp:nvSpPr>
        <dsp:cNvPr id="0" name=""/>
        <dsp:cNvSpPr/>
      </dsp:nvSpPr>
      <dsp:spPr>
        <a:xfrm>
          <a:off x="941223" y="731474"/>
          <a:ext cx="6712091" cy="14627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61053" tIns="81280" rIns="81280" bIns="81280" numCol="1" spcCol="1270" anchor="ctr" anchorCtr="0">
          <a:noAutofit/>
        </a:bodyPr>
        <a:lstStyle/>
        <a:p>
          <a:pPr marL="0" lvl="0" indent="0" algn="l" defTabSz="1422400">
            <a:lnSpc>
              <a:spcPct val="90000"/>
            </a:lnSpc>
            <a:spcBef>
              <a:spcPct val="0"/>
            </a:spcBef>
            <a:spcAft>
              <a:spcPct val="35000"/>
            </a:spcAft>
            <a:buClrTx/>
            <a:buSzTx/>
            <a:buFont typeface="Arial" panose="020B0604020202020204" pitchFamily="34" charset="0"/>
            <a:buNone/>
          </a:pPr>
          <a:r>
            <a:rPr lang="de-DE" sz="3200" b="0" i="0" u="none" kern="1200" dirty="0" err="1">
              <a:solidFill>
                <a:schemeClr val="tx1"/>
              </a:solidFill>
              <a:latin typeface="Arial" panose="020B0604020202020204" pitchFamily="34" charset="0"/>
            </a:rPr>
            <a:t>Overview</a:t>
          </a:r>
          <a:r>
            <a:rPr lang="de-DE" sz="3200" b="0" i="0" u="none" kern="1200" dirty="0">
              <a:solidFill>
                <a:schemeClr val="tx1"/>
              </a:solidFill>
              <a:latin typeface="Arial" panose="020B0604020202020204" pitchFamily="34" charset="0"/>
            </a:rPr>
            <a:t> </a:t>
          </a:r>
          <a:r>
            <a:rPr lang="de-DE" sz="3200" b="0" i="0" u="none" kern="1200" dirty="0" err="1">
              <a:solidFill>
                <a:schemeClr val="tx1"/>
              </a:solidFill>
              <a:latin typeface="Arial" panose="020B0604020202020204" pitchFamily="34" charset="0"/>
            </a:rPr>
            <a:t>of</a:t>
          </a:r>
          <a:r>
            <a:rPr lang="de-DE" sz="3200" b="0" i="0" u="none" kern="1200" dirty="0">
              <a:solidFill>
                <a:schemeClr val="tx1"/>
              </a:solidFill>
              <a:latin typeface="Arial" panose="020B0604020202020204" pitchFamily="34" charset="0"/>
            </a:rPr>
            <a:t> </a:t>
          </a:r>
          <a:r>
            <a:rPr lang="de-DE" sz="3200" b="0" i="0" u="none" kern="1200" dirty="0" err="1">
              <a:solidFill>
                <a:schemeClr val="tx1"/>
              </a:solidFill>
              <a:latin typeface="Arial" panose="020B0604020202020204" pitchFamily="34" charset="0"/>
            </a:rPr>
            <a:t>threats</a:t>
          </a:r>
          <a:r>
            <a:rPr lang="de-DE" sz="3200" b="0" i="0" u="none" kern="1200" dirty="0">
              <a:solidFill>
                <a:schemeClr val="tx1"/>
              </a:solidFill>
              <a:latin typeface="Arial" panose="020B0604020202020204" pitchFamily="34" charset="0"/>
            </a:rPr>
            <a:t> and </a:t>
          </a:r>
          <a:r>
            <a:rPr lang="de-DE" sz="3200" b="0" i="0" u="none" kern="1200" dirty="0" err="1">
              <a:solidFill>
                <a:schemeClr val="tx1"/>
              </a:solidFill>
              <a:latin typeface="Arial" panose="020B0604020202020204" pitchFamily="34" charset="0"/>
            </a:rPr>
            <a:t>attacks</a:t>
          </a:r>
          <a:r>
            <a:rPr lang="de-DE" sz="3200" b="0" i="0" u="none" kern="1200" dirty="0">
              <a:solidFill>
                <a:schemeClr val="tx1"/>
              </a:solidFill>
              <a:latin typeface="Arial" panose="020B0604020202020204" pitchFamily="34" charset="0"/>
            </a:rPr>
            <a:t> </a:t>
          </a:r>
          <a:r>
            <a:rPr lang="de-DE" sz="3200" b="0" i="0" u="none" kern="1200" dirty="0" err="1">
              <a:solidFill>
                <a:schemeClr val="tx1"/>
              </a:solidFill>
              <a:latin typeface="Arial" panose="020B0604020202020204" pitchFamily="34" charset="0"/>
            </a:rPr>
            <a:t>trends</a:t>
          </a:r>
          <a:endParaRPr lang="en-US" sz="3200" kern="1200" dirty="0">
            <a:solidFill>
              <a:schemeClr val="tx1"/>
            </a:solidFill>
          </a:endParaRPr>
        </a:p>
      </dsp:txBody>
      <dsp:txXfrm>
        <a:off x="941223" y="731474"/>
        <a:ext cx="6712091" cy="1462743"/>
      </dsp:txXfrm>
    </dsp:sp>
    <dsp:sp modelId="{45136930-ACDF-4779-AE31-B5F03FB4B4B6}">
      <dsp:nvSpPr>
        <dsp:cNvPr id="0" name=""/>
        <dsp:cNvSpPr/>
      </dsp:nvSpPr>
      <dsp:spPr>
        <a:xfrm>
          <a:off x="27009" y="548631"/>
          <a:ext cx="1828429" cy="1828429"/>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B383488-EEF7-4927-AC97-927680A96CAD}">
      <dsp:nvSpPr>
        <dsp:cNvPr id="0" name=""/>
        <dsp:cNvSpPr/>
      </dsp:nvSpPr>
      <dsp:spPr>
        <a:xfrm>
          <a:off x="941223" y="2925999"/>
          <a:ext cx="6712091" cy="14627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61053" tIns="81280" rIns="81280" bIns="81280" numCol="1" spcCol="1270" anchor="ctr" anchorCtr="0">
          <a:noAutofit/>
        </a:bodyPr>
        <a:lstStyle/>
        <a:p>
          <a:pPr marL="0" lvl="0" indent="0" algn="l" defTabSz="1422400">
            <a:lnSpc>
              <a:spcPct val="90000"/>
            </a:lnSpc>
            <a:spcBef>
              <a:spcPct val="0"/>
            </a:spcBef>
            <a:spcAft>
              <a:spcPct val="35000"/>
            </a:spcAft>
            <a:buNone/>
          </a:pPr>
          <a:r>
            <a:rPr lang="de-DE" sz="3200" b="0" i="0" u="none" kern="1200" dirty="0">
              <a:solidFill>
                <a:schemeClr val="bg1">
                  <a:lumMod val="85000"/>
                </a:schemeClr>
              </a:solidFill>
            </a:rPr>
            <a:t>Review </a:t>
          </a:r>
          <a:r>
            <a:rPr lang="de-DE" sz="3200" b="0" i="0" u="none" kern="1200" dirty="0" err="1">
              <a:solidFill>
                <a:schemeClr val="bg1">
                  <a:lumMod val="85000"/>
                </a:schemeClr>
              </a:solidFill>
            </a:rPr>
            <a:t>of</a:t>
          </a:r>
          <a:r>
            <a:rPr lang="de-DE" sz="3200" b="0" i="0" u="none" kern="1200" dirty="0">
              <a:solidFill>
                <a:schemeClr val="bg1">
                  <a:lumMod val="85000"/>
                </a:schemeClr>
              </a:solidFill>
            </a:rPr>
            <a:t> </a:t>
          </a:r>
          <a:r>
            <a:rPr lang="de-DE" sz="3200" b="0" i="0" u="none" kern="1200" dirty="0" err="1">
              <a:solidFill>
                <a:schemeClr val="bg1">
                  <a:lumMod val="85000"/>
                </a:schemeClr>
              </a:solidFill>
            </a:rPr>
            <a:t>attack</a:t>
          </a:r>
          <a:r>
            <a:rPr lang="de-DE" sz="3200" b="0" i="0" u="none" kern="1200" dirty="0">
              <a:solidFill>
                <a:schemeClr val="bg1">
                  <a:lumMod val="85000"/>
                </a:schemeClr>
              </a:solidFill>
            </a:rPr>
            <a:t> </a:t>
          </a:r>
          <a:r>
            <a:rPr lang="de-DE" sz="3200" b="0" i="0" u="none" kern="1200" dirty="0" err="1">
              <a:solidFill>
                <a:schemeClr val="bg1">
                  <a:lumMod val="85000"/>
                </a:schemeClr>
              </a:solidFill>
            </a:rPr>
            <a:t>examples</a:t>
          </a:r>
          <a:endParaRPr lang="en-US" sz="3200" kern="1200" dirty="0">
            <a:solidFill>
              <a:schemeClr val="bg1">
                <a:lumMod val="85000"/>
              </a:schemeClr>
            </a:solidFill>
          </a:endParaRPr>
        </a:p>
      </dsp:txBody>
      <dsp:txXfrm>
        <a:off x="941223" y="2925999"/>
        <a:ext cx="6712091" cy="1462743"/>
      </dsp:txXfrm>
    </dsp:sp>
    <dsp:sp modelId="{5A511229-F29A-4B4B-994A-F1410CE29813}">
      <dsp:nvSpPr>
        <dsp:cNvPr id="0" name=""/>
        <dsp:cNvSpPr/>
      </dsp:nvSpPr>
      <dsp:spPr>
        <a:xfrm>
          <a:off x="27009" y="2743156"/>
          <a:ext cx="1828429" cy="1828429"/>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74ABE9-A050-4132-B764-2DB3DD441ED1}">
      <dsp:nvSpPr>
        <dsp:cNvPr id="0" name=""/>
        <dsp:cNvSpPr/>
      </dsp:nvSpPr>
      <dsp:spPr>
        <a:xfrm>
          <a:off x="-5744461" y="-886077"/>
          <a:ext cx="6892371" cy="6892371"/>
        </a:xfrm>
        <a:prstGeom prst="blockArc">
          <a:avLst>
            <a:gd name="adj1" fmla="val 18900000"/>
            <a:gd name="adj2" fmla="val 2700000"/>
            <a:gd name="adj3" fmla="val 313"/>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F8EF875-57B6-4E4C-8A10-BE7EFCBC0BB1}">
      <dsp:nvSpPr>
        <dsp:cNvPr id="0" name=""/>
        <dsp:cNvSpPr/>
      </dsp:nvSpPr>
      <dsp:spPr>
        <a:xfrm>
          <a:off x="941223" y="731474"/>
          <a:ext cx="6712091" cy="14627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61053" tIns="81280" rIns="81280" bIns="81280" numCol="1" spcCol="1270" anchor="ctr" anchorCtr="0">
          <a:noAutofit/>
        </a:bodyPr>
        <a:lstStyle/>
        <a:p>
          <a:pPr marL="0" lvl="0" indent="0" algn="l" defTabSz="1422400">
            <a:lnSpc>
              <a:spcPct val="90000"/>
            </a:lnSpc>
            <a:spcBef>
              <a:spcPct val="0"/>
            </a:spcBef>
            <a:spcAft>
              <a:spcPct val="35000"/>
            </a:spcAft>
            <a:buClrTx/>
            <a:buSzTx/>
            <a:buFont typeface="Arial" panose="020B0604020202020204" pitchFamily="34" charset="0"/>
            <a:buNone/>
          </a:pPr>
          <a:r>
            <a:rPr lang="de-DE" sz="3200" b="0" i="0" u="none" kern="1200" dirty="0" err="1">
              <a:solidFill>
                <a:schemeClr val="bg1">
                  <a:lumMod val="85000"/>
                </a:schemeClr>
              </a:solidFill>
              <a:latin typeface="Arial" panose="020B0604020202020204" pitchFamily="34" charset="0"/>
            </a:rPr>
            <a:t>Overview</a:t>
          </a:r>
          <a:r>
            <a:rPr lang="de-DE" sz="3200" b="0" i="0" u="none" kern="1200" dirty="0">
              <a:solidFill>
                <a:schemeClr val="bg1">
                  <a:lumMod val="85000"/>
                </a:schemeClr>
              </a:solidFill>
              <a:latin typeface="Arial" panose="020B0604020202020204" pitchFamily="34" charset="0"/>
            </a:rPr>
            <a:t> </a:t>
          </a:r>
          <a:r>
            <a:rPr lang="de-DE" sz="3200" b="0" i="0" u="none" kern="1200" dirty="0" err="1">
              <a:solidFill>
                <a:schemeClr val="bg1">
                  <a:lumMod val="85000"/>
                </a:schemeClr>
              </a:solidFill>
              <a:latin typeface="Arial" panose="020B0604020202020204" pitchFamily="34" charset="0"/>
            </a:rPr>
            <a:t>of</a:t>
          </a:r>
          <a:r>
            <a:rPr lang="de-DE" sz="3200" b="0" i="0" u="none" kern="1200" dirty="0">
              <a:solidFill>
                <a:schemeClr val="bg1">
                  <a:lumMod val="85000"/>
                </a:schemeClr>
              </a:solidFill>
              <a:latin typeface="Arial" panose="020B0604020202020204" pitchFamily="34" charset="0"/>
            </a:rPr>
            <a:t> </a:t>
          </a:r>
          <a:r>
            <a:rPr lang="de-DE" sz="3200" b="0" i="0" u="none" kern="1200" dirty="0" err="1">
              <a:solidFill>
                <a:schemeClr val="bg1">
                  <a:lumMod val="85000"/>
                </a:schemeClr>
              </a:solidFill>
              <a:latin typeface="Arial" panose="020B0604020202020204" pitchFamily="34" charset="0"/>
            </a:rPr>
            <a:t>threats</a:t>
          </a:r>
          <a:r>
            <a:rPr lang="de-DE" sz="3200" b="0" i="0" u="none" kern="1200" dirty="0">
              <a:solidFill>
                <a:schemeClr val="bg1">
                  <a:lumMod val="85000"/>
                </a:schemeClr>
              </a:solidFill>
              <a:latin typeface="Arial" panose="020B0604020202020204" pitchFamily="34" charset="0"/>
            </a:rPr>
            <a:t> and </a:t>
          </a:r>
          <a:r>
            <a:rPr lang="de-DE" sz="3200" b="0" i="0" u="none" kern="1200" dirty="0" err="1">
              <a:solidFill>
                <a:schemeClr val="bg1">
                  <a:lumMod val="85000"/>
                </a:schemeClr>
              </a:solidFill>
              <a:latin typeface="Arial" panose="020B0604020202020204" pitchFamily="34" charset="0"/>
            </a:rPr>
            <a:t>attacks</a:t>
          </a:r>
          <a:r>
            <a:rPr lang="de-DE" sz="3200" b="0" i="0" u="none" kern="1200" dirty="0">
              <a:solidFill>
                <a:schemeClr val="bg1">
                  <a:lumMod val="85000"/>
                </a:schemeClr>
              </a:solidFill>
              <a:latin typeface="Arial" panose="020B0604020202020204" pitchFamily="34" charset="0"/>
            </a:rPr>
            <a:t> </a:t>
          </a:r>
          <a:r>
            <a:rPr lang="de-DE" sz="3200" b="0" i="0" u="none" kern="1200" dirty="0" err="1">
              <a:solidFill>
                <a:schemeClr val="bg1">
                  <a:lumMod val="85000"/>
                </a:schemeClr>
              </a:solidFill>
              <a:latin typeface="Arial" panose="020B0604020202020204" pitchFamily="34" charset="0"/>
            </a:rPr>
            <a:t>trends</a:t>
          </a:r>
          <a:endParaRPr lang="en-US" sz="3200" kern="1200" dirty="0">
            <a:solidFill>
              <a:schemeClr val="bg1">
                <a:lumMod val="85000"/>
              </a:schemeClr>
            </a:solidFill>
          </a:endParaRPr>
        </a:p>
      </dsp:txBody>
      <dsp:txXfrm>
        <a:off x="941223" y="731474"/>
        <a:ext cx="6712091" cy="1462743"/>
      </dsp:txXfrm>
    </dsp:sp>
    <dsp:sp modelId="{45136930-ACDF-4779-AE31-B5F03FB4B4B6}">
      <dsp:nvSpPr>
        <dsp:cNvPr id="0" name=""/>
        <dsp:cNvSpPr/>
      </dsp:nvSpPr>
      <dsp:spPr>
        <a:xfrm>
          <a:off x="27009" y="548631"/>
          <a:ext cx="1828429" cy="1828429"/>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B383488-EEF7-4927-AC97-927680A96CAD}">
      <dsp:nvSpPr>
        <dsp:cNvPr id="0" name=""/>
        <dsp:cNvSpPr/>
      </dsp:nvSpPr>
      <dsp:spPr>
        <a:xfrm>
          <a:off x="941223" y="2925999"/>
          <a:ext cx="6712091" cy="14627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61053" tIns="81280" rIns="81280" bIns="81280" numCol="1" spcCol="1270" anchor="ctr" anchorCtr="0">
          <a:noAutofit/>
        </a:bodyPr>
        <a:lstStyle/>
        <a:p>
          <a:pPr marL="0" lvl="0" indent="0" algn="l" defTabSz="1422400">
            <a:lnSpc>
              <a:spcPct val="90000"/>
            </a:lnSpc>
            <a:spcBef>
              <a:spcPct val="0"/>
            </a:spcBef>
            <a:spcAft>
              <a:spcPct val="35000"/>
            </a:spcAft>
            <a:buNone/>
          </a:pPr>
          <a:r>
            <a:rPr lang="de-DE" sz="3200" b="0" i="0" u="none" kern="1200" dirty="0">
              <a:solidFill>
                <a:schemeClr val="tx1"/>
              </a:solidFill>
            </a:rPr>
            <a:t>Review </a:t>
          </a:r>
          <a:r>
            <a:rPr lang="de-DE" sz="3200" b="0" i="0" u="none" kern="1200" dirty="0" err="1">
              <a:solidFill>
                <a:schemeClr val="tx1"/>
              </a:solidFill>
            </a:rPr>
            <a:t>of</a:t>
          </a:r>
          <a:r>
            <a:rPr lang="de-DE" sz="3200" b="0" i="0" u="none" kern="1200" dirty="0">
              <a:solidFill>
                <a:schemeClr val="tx1"/>
              </a:solidFill>
            </a:rPr>
            <a:t> </a:t>
          </a:r>
          <a:r>
            <a:rPr lang="de-DE" sz="3200" b="0" i="0" u="none" kern="1200" dirty="0" err="1">
              <a:solidFill>
                <a:schemeClr val="tx1"/>
              </a:solidFill>
            </a:rPr>
            <a:t>attack</a:t>
          </a:r>
          <a:r>
            <a:rPr lang="de-DE" sz="3200" b="0" i="0" u="none" kern="1200" dirty="0">
              <a:solidFill>
                <a:schemeClr val="tx1"/>
              </a:solidFill>
            </a:rPr>
            <a:t> </a:t>
          </a:r>
          <a:r>
            <a:rPr lang="de-DE" sz="3200" b="0" i="0" u="none" kern="1200" dirty="0" err="1">
              <a:solidFill>
                <a:schemeClr val="tx1"/>
              </a:solidFill>
            </a:rPr>
            <a:t>examples</a:t>
          </a:r>
          <a:endParaRPr lang="en-US" sz="3200" kern="1200" dirty="0">
            <a:solidFill>
              <a:schemeClr val="tx1"/>
            </a:solidFill>
          </a:endParaRPr>
        </a:p>
      </dsp:txBody>
      <dsp:txXfrm>
        <a:off x="941223" y="2925999"/>
        <a:ext cx="6712091" cy="1462743"/>
      </dsp:txXfrm>
    </dsp:sp>
    <dsp:sp modelId="{5A511229-F29A-4B4B-994A-F1410CE29813}">
      <dsp:nvSpPr>
        <dsp:cNvPr id="0" name=""/>
        <dsp:cNvSpPr/>
      </dsp:nvSpPr>
      <dsp:spPr>
        <a:xfrm>
          <a:off x="27009" y="2743156"/>
          <a:ext cx="1828429" cy="1828429"/>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66229</cdr:x>
      <cdr:y>0.15321</cdr:y>
    </cdr:from>
    <cdr:to>
      <cdr:x>0.82504</cdr:x>
      <cdr:y>0.28181</cdr:y>
    </cdr:to>
    <cdr:sp macro="" textlink="">
      <cdr:nvSpPr>
        <cdr:cNvPr id="2" name="Oval 1">
          <a:extLst xmlns:a="http://schemas.openxmlformats.org/drawingml/2006/main">
            <a:ext uri="{FF2B5EF4-FFF2-40B4-BE49-F238E27FC236}">
              <a16:creationId xmlns:a16="http://schemas.microsoft.com/office/drawing/2014/main" id="{C2493D92-70E6-D8C2-FCB3-5E5A83409816}"/>
            </a:ext>
          </a:extLst>
        </cdr:cNvPr>
        <cdr:cNvSpPr/>
      </cdr:nvSpPr>
      <cdr:spPr>
        <a:xfrm xmlns:a="http://schemas.openxmlformats.org/drawingml/2006/main">
          <a:off x="5860580" y="686304"/>
          <a:ext cx="1440160" cy="576064"/>
        </a:xfrm>
        <a:prstGeom xmlns:a="http://schemas.openxmlformats.org/drawingml/2006/main" prst="ellipse">
          <a:avLst/>
        </a:prstGeom>
        <a:noFill xmlns:a="http://schemas.openxmlformats.org/drawingml/2006/main"/>
        <a:ln xmlns:a="http://schemas.openxmlformats.org/drawingml/2006/main" w="38100">
          <a:solidFill>
            <a:srgbClr val="C0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144000" tIns="108000" rIns="144000" bIns="144000" rtlCol="0" anchor="t"/>
        <a:lstStyle xmlns:a="http://schemas.openxmlformats.org/drawingml/2006/main"/>
        <a:p xmlns:a="http://schemas.openxmlformats.org/drawingml/2006/main">
          <a:endParaRPr lang="en-US" kern="1200"/>
        </a:p>
      </cdr:txBody>
    </cdr:sp>
  </cdr:relSizeAnchor>
  <cdr:relSizeAnchor xmlns:cdr="http://schemas.openxmlformats.org/drawingml/2006/chartDrawing">
    <cdr:from>
      <cdr:x>0.64604</cdr:x>
      <cdr:y>0.75602</cdr:y>
    </cdr:from>
    <cdr:to>
      <cdr:x>0.80879</cdr:x>
      <cdr:y>0.88461</cdr:y>
    </cdr:to>
    <cdr:sp macro="" textlink="">
      <cdr:nvSpPr>
        <cdr:cNvPr id="3" name="Oval 2">
          <a:extLst xmlns:a="http://schemas.openxmlformats.org/drawingml/2006/main">
            <a:ext uri="{FF2B5EF4-FFF2-40B4-BE49-F238E27FC236}">
              <a16:creationId xmlns:a16="http://schemas.microsoft.com/office/drawing/2014/main" id="{B773FEF7-6E60-1E14-3B62-5B6B838D21BE}"/>
            </a:ext>
          </a:extLst>
        </cdr:cNvPr>
        <cdr:cNvSpPr/>
      </cdr:nvSpPr>
      <cdr:spPr>
        <a:xfrm xmlns:a="http://schemas.openxmlformats.org/drawingml/2006/main">
          <a:off x="5716750" y="3386604"/>
          <a:ext cx="1440160" cy="576064"/>
        </a:xfrm>
        <a:prstGeom xmlns:a="http://schemas.openxmlformats.org/drawingml/2006/main" prst="ellipse">
          <a:avLst/>
        </a:prstGeom>
        <a:noFill xmlns:a="http://schemas.openxmlformats.org/drawingml/2006/main"/>
        <a:ln xmlns:a="http://schemas.openxmlformats.org/drawingml/2006/main" w="38100">
          <a:solidFill>
            <a:srgbClr val="C0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144000" tIns="108000" rIns="144000" bIns="144000" rtlCol="0" anchor="t"/>
        <a:lstStyle xmlns:a="http://schemas.openxmlformats.org/drawingml/2006/main"/>
        <a:p xmlns:a="http://schemas.openxmlformats.org/drawingml/2006/main">
          <a:endParaRPr lang="en-US" kern="1200"/>
        </a:p>
      </cdr:txBody>
    </cdr:sp>
  </cdr:relSizeAnchor>
  <cdr:relSizeAnchor xmlns:cdr="http://schemas.openxmlformats.org/drawingml/2006/chartDrawing">
    <cdr:from>
      <cdr:x>0.36614</cdr:x>
      <cdr:y>0.8714</cdr:y>
    </cdr:from>
    <cdr:to>
      <cdr:x>0.52889</cdr:x>
      <cdr:y>1</cdr:y>
    </cdr:to>
    <cdr:sp macro="" textlink="">
      <cdr:nvSpPr>
        <cdr:cNvPr id="4" name="Oval 3">
          <a:extLst xmlns:a="http://schemas.openxmlformats.org/drawingml/2006/main">
            <a:ext uri="{FF2B5EF4-FFF2-40B4-BE49-F238E27FC236}">
              <a16:creationId xmlns:a16="http://schemas.microsoft.com/office/drawing/2014/main" id="{4D795E8F-42C9-F5BF-64AD-92C19D231F1B}"/>
            </a:ext>
          </a:extLst>
        </cdr:cNvPr>
        <cdr:cNvSpPr/>
      </cdr:nvSpPr>
      <cdr:spPr>
        <a:xfrm xmlns:a="http://schemas.openxmlformats.org/drawingml/2006/main">
          <a:off x="3239964" y="3924163"/>
          <a:ext cx="1440160" cy="576064"/>
        </a:xfrm>
        <a:prstGeom xmlns:a="http://schemas.openxmlformats.org/drawingml/2006/main" prst="ellipse">
          <a:avLst/>
        </a:prstGeom>
        <a:noFill xmlns:a="http://schemas.openxmlformats.org/drawingml/2006/main"/>
        <a:ln xmlns:a="http://schemas.openxmlformats.org/drawingml/2006/main" w="38100">
          <a:solidFill>
            <a:srgbClr val="C0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144000" tIns="108000" rIns="144000" bIns="144000" rtlCol="0" anchor="t"/>
        <a:lstStyle xmlns:a="http://schemas.openxmlformats.org/drawingml/2006/main"/>
        <a:p xmlns:a="http://schemas.openxmlformats.org/drawingml/2006/main">
          <a:endParaRPr lang="en-US" kern="120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C5820E2-C5B0-C94F-BB9D-7D44B72CB4F7}" type="datetimeFigureOut">
              <a:t>5/21/2025</a:t>
            </a:fld>
            <a:endParaRPr lang="de-DE"/>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7046829-E818-5348-BB73-2146BF0C3B32}" type="slidenum">
              <a:t>‹#›</a:t>
            </a:fld>
            <a:endParaRPr lang="de-DE"/>
          </a:p>
        </p:txBody>
      </p:sp>
    </p:spTree>
    <p:extLst>
      <p:ext uri="{BB962C8B-B14F-4D97-AF65-F5344CB8AC3E}">
        <p14:creationId xmlns:p14="http://schemas.microsoft.com/office/powerpoint/2010/main" val="163730018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DEEB27-5DB9-4776-AC7D-5FC4C268240D}" type="datetimeFigureOut">
              <a:rPr lang="de-DE" smtClean="0"/>
              <a:t>21.05.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02F7FA-3984-4F9D-BF36-30DAB3280DBC}" type="slidenum">
              <a:rPr lang="de-DE" smtClean="0"/>
              <a:t>‹#›</a:t>
            </a:fld>
            <a:endParaRPr lang="de-DE"/>
          </a:p>
        </p:txBody>
      </p:sp>
    </p:spTree>
    <p:extLst>
      <p:ext uri="{BB962C8B-B14F-4D97-AF65-F5344CB8AC3E}">
        <p14:creationId xmlns:p14="http://schemas.microsoft.com/office/powerpoint/2010/main" val="3844752275"/>
      </p:ext>
    </p:extLst>
  </p:cSld>
  <p:clrMap bg1="lt1" tx1="dk1" bg2="lt2" tx2="dk2" accent1="accent1" accent2="accent2" accent3="accent3" accent4="accent4" accent5="accent5" accent6="accent6" hlink="hlink" folHlink="folHlink"/>
  <p:hf hdr="0" ftr="0" dt="0"/>
  <p:notesStyle>
    <a:lvl1pPr marL="0" algn="l" defTabSz="863995" rtl="0" eaLnBrk="1" latinLnBrk="0" hangingPunct="1">
      <a:defRPr sz="1134" kern="1200">
        <a:solidFill>
          <a:schemeClr val="tx1"/>
        </a:solidFill>
        <a:latin typeface="+mn-lt"/>
        <a:ea typeface="+mn-ea"/>
        <a:cs typeface="+mn-cs"/>
      </a:defRPr>
    </a:lvl1pPr>
    <a:lvl2pPr marL="431998" algn="l" defTabSz="863995" rtl="0" eaLnBrk="1" latinLnBrk="0" hangingPunct="1">
      <a:defRPr sz="1134" kern="1200">
        <a:solidFill>
          <a:schemeClr val="tx1"/>
        </a:solidFill>
        <a:latin typeface="+mn-lt"/>
        <a:ea typeface="+mn-ea"/>
        <a:cs typeface="+mn-cs"/>
      </a:defRPr>
    </a:lvl2pPr>
    <a:lvl3pPr marL="863995" algn="l" defTabSz="863995" rtl="0" eaLnBrk="1" latinLnBrk="0" hangingPunct="1">
      <a:defRPr sz="1134" kern="1200">
        <a:solidFill>
          <a:schemeClr val="tx1"/>
        </a:solidFill>
        <a:latin typeface="+mn-lt"/>
        <a:ea typeface="+mn-ea"/>
        <a:cs typeface="+mn-cs"/>
      </a:defRPr>
    </a:lvl3pPr>
    <a:lvl4pPr marL="1295993" algn="l" defTabSz="863995" rtl="0" eaLnBrk="1" latinLnBrk="0" hangingPunct="1">
      <a:defRPr sz="1134" kern="1200">
        <a:solidFill>
          <a:schemeClr val="tx1"/>
        </a:solidFill>
        <a:latin typeface="+mn-lt"/>
        <a:ea typeface="+mn-ea"/>
        <a:cs typeface="+mn-cs"/>
      </a:defRPr>
    </a:lvl4pPr>
    <a:lvl5pPr marL="1727990" algn="l" defTabSz="863995" rtl="0" eaLnBrk="1" latinLnBrk="0" hangingPunct="1">
      <a:defRPr sz="1134" kern="1200">
        <a:solidFill>
          <a:schemeClr val="tx1"/>
        </a:solidFill>
        <a:latin typeface="+mn-lt"/>
        <a:ea typeface="+mn-ea"/>
        <a:cs typeface="+mn-cs"/>
      </a:defRPr>
    </a:lvl5pPr>
    <a:lvl6pPr marL="2159988" algn="l" defTabSz="863995" rtl="0" eaLnBrk="1" latinLnBrk="0" hangingPunct="1">
      <a:defRPr sz="1134" kern="1200">
        <a:solidFill>
          <a:schemeClr val="tx1"/>
        </a:solidFill>
        <a:latin typeface="+mn-lt"/>
        <a:ea typeface="+mn-ea"/>
        <a:cs typeface="+mn-cs"/>
      </a:defRPr>
    </a:lvl6pPr>
    <a:lvl7pPr marL="2591984" algn="l" defTabSz="863995" rtl="0" eaLnBrk="1" latinLnBrk="0" hangingPunct="1">
      <a:defRPr sz="1134" kern="1200">
        <a:solidFill>
          <a:schemeClr val="tx1"/>
        </a:solidFill>
        <a:latin typeface="+mn-lt"/>
        <a:ea typeface="+mn-ea"/>
        <a:cs typeface="+mn-cs"/>
      </a:defRPr>
    </a:lvl7pPr>
    <a:lvl8pPr marL="3023982" algn="l" defTabSz="863995" rtl="0" eaLnBrk="1" latinLnBrk="0" hangingPunct="1">
      <a:defRPr sz="1134" kern="1200">
        <a:solidFill>
          <a:schemeClr val="tx1"/>
        </a:solidFill>
        <a:latin typeface="+mn-lt"/>
        <a:ea typeface="+mn-ea"/>
        <a:cs typeface="+mn-cs"/>
      </a:defRPr>
    </a:lvl8pPr>
    <a:lvl9pPr marL="3455980" algn="l" defTabSz="863995" rtl="0" eaLnBrk="1" latinLnBrk="0" hangingPunct="1">
      <a:defRPr sz="113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news.microsoft.com/azure-quantum/"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s://www.fujitsu.com/global/about/resources/news/press-releases/2025/0422-01.html#footnote1" TargetMode="External"/><Relationship Id="rId5" Type="http://schemas.openxmlformats.org/officeDocument/2006/relationships/hyperlink" Target="https://content.techgig.com/searchresult.cms?query=quantum+instructions" TargetMode="External"/><Relationship Id="rId4" Type="http://schemas.openxmlformats.org/officeDocument/2006/relationships/hyperlink" Target="https://aka.ms/MSQuantumAQblog"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9502F7FA-3984-4F9D-BF36-30DAB3280DBC}" type="slidenum">
              <a:rPr lang="de-DE" smtClean="0"/>
              <a:t>1</a:t>
            </a:fld>
            <a:endParaRPr lang="de-DE"/>
          </a:p>
        </p:txBody>
      </p:sp>
    </p:spTree>
    <p:extLst>
      <p:ext uri="{BB962C8B-B14F-4D97-AF65-F5344CB8AC3E}">
        <p14:creationId xmlns:p14="http://schemas.microsoft.com/office/powerpoint/2010/main" val="41120961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8DA97-7B72-B83A-C61E-E10B4E8779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DA3A29-ACA5-03D3-7698-623B40FC45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9DACDF-5F96-81DA-B45E-B95A3E733564}"/>
              </a:ext>
            </a:extLst>
          </p:cNvPr>
          <p:cNvSpPr>
            <a:spLocks noGrp="1"/>
          </p:cNvSpPr>
          <p:nvPr>
            <p:ph type="body" idx="1"/>
          </p:nvPr>
        </p:nvSpPr>
        <p:spPr/>
        <p:txBody>
          <a:bodyPr/>
          <a:lstStyle/>
          <a:p>
            <a:r>
              <a:rPr lang="en-US" dirty="0"/>
              <a:t>6min</a:t>
            </a:r>
          </a:p>
        </p:txBody>
      </p:sp>
      <p:sp>
        <p:nvSpPr>
          <p:cNvPr id="4" name="Slide Number Placeholder 3">
            <a:extLst>
              <a:ext uri="{FF2B5EF4-FFF2-40B4-BE49-F238E27FC236}">
                <a16:creationId xmlns:a16="http://schemas.microsoft.com/office/drawing/2014/main" id="{11E47652-E6E4-3214-DA60-045A71D2A14A}"/>
              </a:ext>
            </a:extLst>
          </p:cNvPr>
          <p:cNvSpPr>
            <a:spLocks noGrp="1"/>
          </p:cNvSpPr>
          <p:nvPr>
            <p:ph type="sldNum" sz="quarter" idx="5"/>
          </p:nvPr>
        </p:nvSpPr>
        <p:spPr/>
        <p:txBody>
          <a:bodyPr/>
          <a:lstStyle/>
          <a:p>
            <a:fld id="{9502F7FA-3984-4F9D-BF36-30DAB3280DBC}" type="slidenum">
              <a:rPr lang="de-DE" smtClean="0"/>
              <a:t>10</a:t>
            </a:fld>
            <a:endParaRPr lang="de-DE"/>
          </a:p>
        </p:txBody>
      </p:sp>
    </p:spTree>
    <p:extLst>
      <p:ext uri="{BB962C8B-B14F-4D97-AF65-F5344CB8AC3E}">
        <p14:creationId xmlns:p14="http://schemas.microsoft.com/office/powerpoint/2010/main" val="33355320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7.5min</a:t>
            </a:r>
          </a:p>
          <a:p>
            <a:endParaRPr lang="en-US" dirty="0"/>
          </a:p>
          <a:p>
            <a:r>
              <a:rPr lang="en-US" dirty="0"/>
              <a:t>Majorana 1: different approach to building fault-tolerant qubits -&gt; low error rates and high stability</a:t>
            </a:r>
          </a:p>
          <a:p>
            <a:r>
              <a:rPr lang="en-US" dirty="0"/>
              <a:t>Today’s superconducting and trapped ion qubits require thousands of physical qubits to make one logical qubit</a:t>
            </a:r>
          </a:p>
          <a:p>
            <a:r>
              <a:rPr lang="en-US" dirty="0"/>
              <a:t>-&gt; If </a:t>
            </a:r>
            <a:r>
              <a:rPr lang="en-US" dirty="0" err="1"/>
              <a:t>Majorna</a:t>
            </a:r>
            <a:r>
              <a:rPr lang="en-US" dirty="0"/>
              <a:t> 1 is successful could accelerate path to practical scalable quantum computing</a:t>
            </a:r>
          </a:p>
          <a:p>
            <a:endParaRPr lang="en-US" dirty="0"/>
          </a:p>
          <a:p>
            <a:r>
              <a:rPr lang="en-US" dirty="0"/>
              <a:t>First quantum OS: </a:t>
            </a:r>
            <a:r>
              <a:rPr lang="en-US" dirty="0" err="1"/>
              <a:t>QNodeOS</a:t>
            </a:r>
            <a:endParaRPr lang="en-US" dirty="0"/>
          </a:p>
          <a:p>
            <a:r>
              <a:rPr lang="en-US" dirty="0"/>
              <a:t>Can manage and execute applications across quantum network nodes -&gt; facilitate scalable and functional quantum internet</a:t>
            </a:r>
          </a:p>
          <a:p>
            <a:endParaRPr lang="en-US" dirty="0"/>
          </a:p>
          <a:p>
            <a:r>
              <a:rPr lang="en-US" dirty="0"/>
              <a:t>256 qubit – other quantum systems have achieved higher qubit counts but</a:t>
            </a:r>
          </a:p>
          <a:p>
            <a:r>
              <a:rPr lang="en-US" dirty="0"/>
              <a:t>Fujitsu and </a:t>
            </a:r>
            <a:r>
              <a:rPr lang="en-US" dirty="0" err="1"/>
              <a:t>riken</a:t>
            </a:r>
            <a:r>
              <a:rPr lang="en-US" dirty="0"/>
              <a:t> stands out because advanced thermal design, integration between quantum computing and HPC (hybrid) and strategic roadmap for 1000 qubits</a:t>
            </a:r>
          </a:p>
          <a:p>
            <a:r>
              <a:rPr lang="en-US" dirty="0"/>
              <a:t>256 qubit quantum computer can represent 2^256 different quantum states simultaneously</a:t>
            </a:r>
          </a:p>
          <a:p>
            <a:r>
              <a:rPr lang="en-US" dirty="0"/>
              <a:t>256 qubit not powerful yet to break modern crypto</a:t>
            </a:r>
          </a:p>
          <a:p>
            <a:r>
              <a:rPr lang="en-US" dirty="0"/>
              <a:t>Today’s </a:t>
            </a:r>
            <a:r>
              <a:rPr lang="en-US" dirty="0" err="1"/>
              <a:t>quatum</a:t>
            </a:r>
            <a:r>
              <a:rPr lang="en-US" dirty="0"/>
              <a:t> computers are noisy (prone to errors) and lack error correction</a:t>
            </a:r>
          </a:p>
          <a:p>
            <a:r>
              <a:rPr lang="en-US" dirty="0"/>
              <a:t>To break e.g. RSA-2048, need estimated thousands to millions of logical qubits (not physical qubits but logical ones after correction)</a:t>
            </a:r>
          </a:p>
          <a:p>
            <a:endParaRPr lang="en-US" dirty="0"/>
          </a:p>
          <a:p>
            <a:endParaRPr lang="en-US" dirty="0"/>
          </a:p>
          <a:p>
            <a:r>
              <a:rPr lang="en-US" dirty="0"/>
              <a:t>https://news.microsoft.com/source/features/innovation/microsofts-majorana-1-chip-carves-new-path-for-quantum-computing/</a:t>
            </a:r>
          </a:p>
          <a:p>
            <a:r>
              <a:rPr lang="en-US" b="0" i="0" dirty="0">
                <a:solidFill>
                  <a:srgbClr val="000000"/>
                </a:solidFill>
                <a:effectLst/>
                <a:latin typeface="Segoe UI" panose="020B0502040204020203" pitchFamily="34" charset="0"/>
              </a:rPr>
              <a:t>Microsoft today </a:t>
            </a:r>
            <a:r>
              <a:rPr lang="en-US" b="0" i="0" u="none" strike="noStrike" dirty="0">
                <a:effectLst/>
                <a:latin typeface="Segoe UI" panose="020B0502040204020203" pitchFamily="34" charset="0"/>
                <a:hlinkClick r:id="rId3"/>
              </a:rPr>
              <a:t>introduced Majorana 1</a:t>
            </a:r>
            <a:r>
              <a:rPr lang="en-US" b="0" i="0" dirty="0">
                <a:solidFill>
                  <a:srgbClr val="000000"/>
                </a:solidFill>
                <a:effectLst/>
                <a:latin typeface="Segoe UI" panose="020B0502040204020203" pitchFamily="34" charset="0"/>
              </a:rPr>
              <a:t>, the world’s first quantum chip powered by a new Topological Core architecture that it expects will realize quantum computers capable of solving meaningful, industrial-scale problems in years, not decades.</a:t>
            </a:r>
            <a:endParaRPr lang="en-US" dirty="0"/>
          </a:p>
          <a:p>
            <a:r>
              <a:rPr lang="en-US" dirty="0"/>
              <a:t>I</a:t>
            </a:r>
            <a:r>
              <a:rPr lang="en-US" b="0" i="0" dirty="0">
                <a:solidFill>
                  <a:srgbClr val="000000"/>
                </a:solidFill>
                <a:effectLst/>
                <a:latin typeface="Segoe UI" panose="020B0502040204020203" pitchFamily="34" charset="0"/>
              </a:rPr>
              <a:t>n the same way that the invention of semiconductors made today’s smartphones, computers and electronics possible, </a:t>
            </a:r>
            <a:r>
              <a:rPr lang="en-US" b="0" i="0" u="none" strike="noStrike" dirty="0" err="1">
                <a:effectLst/>
                <a:latin typeface="Segoe UI" panose="020B0502040204020203" pitchFamily="34" charset="0"/>
                <a:hlinkClick r:id="rId4"/>
              </a:rPr>
              <a:t>topoconductors</a:t>
            </a:r>
            <a:r>
              <a:rPr lang="en-US" b="0" i="0" u="none" strike="noStrike" dirty="0">
                <a:effectLst/>
                <a:latin typeface="Segoe UI" panose="020B0502040204020203" pitchFamily="34" charset="0"/>
                <a:hlinkClick r:id="rId4"/>
              </a:rPr>
              <a:t> and the new type of chip they enable</a:t>
            </a:r>
            <a:r>
              <a:rPr lang="en-US" b="0" i="0" dirty="0">
                <a:solidFill>
                  <a:srgbClr val="000000"/>
                </a:solidFill>
                <a:effectLst/>
                <a:latin typeface="Segoe UI" panose="020B0502040204020203" pitchFamily="34" charset="0"/>
              </a:rPr>
              <a:t> offer a path to developing quantum systems that can scale to a million qubits and are capable of tackling the most complex industrial and societal problems, Microsoft said.</a:t>
            </a:r>
            <a:endParaRPr lang="en-US" dirty="0"/>
          </a:p>
          <a:p>
            <a:pPr marL="0" marR="0" lvl="0" indent="0" algn="l" defTabSz="863995" rtl="0" eaLnBrk="1" fontAlgn="auto" latinLnBrk="0" hangingPunct="1">
              <a:lnSpc>
                <a:spcPct val="100000"/>
              </a:lnSpc>
              <a:spcBef>
                <a:spcPts val="0"/>
              </a:spcBef>
              <a:spcAft>
                <a:spcPts val="0"/>
              </a:spcAft>
              <a:buClrTx/>
              <a:buSzTx/>
              <a:buFontTx/>
              <a:buNone/>
              <a:tabLst/>
              <a:defRPr/>
            </a:pPr>
            <a:endParaRPr lang="en-US" dirty="0"/>
          </a:p>
          <a:p>
            <a:pPr marL="0" marR="0" lvl="0" indent="0" algn="l" defTabSz="863995" rtl="0" eaLnBrk="1" fontAlgn="auto" latinLnBrk="0" hangingPunct="1">
              <a:lnSpc>
                <a:spcPct val="100000"/>
              </a:lnSpc>
              <a:spcBef>
                <a:spcPts val="0"/>
              </a:spcBef>
              <a:spcAft>
                <a:spcPts val="0"/>
              </a:spcAft>
              <a:buClrTx/>
              <a:buSzTx/>
              <a:buFontTx/>
              <a:buNone/>
              <a:tabLst/>
              <a:defRPr/>
            </a:pPr>
            <a:endParaRPr lang="en-US" dirty="0"/>
          </a:p>
          <a:p>
            <a:pPr marL="0" marR="0" lvl="0" indent="0" algn="l" defTabSz="863995" rtl="0" eaLnBrk="1" fontAlgn="auto" latinLnBrk="0" hangingPunct="1">
              <a:lnSpc>
                <a:spcPct val="100000"/>
              </a:lnSpc>
              <a:spcBef>
                <a:spcPts val="0"/>
              </a:spcBef>
              <a:spcAft>
                <a:spcPts val="0"/>
              </a:spcAft>
              <a:buClrTx/>
              <a:buSzTx/>
              <a:buFontTx/>
              <a:buNone/>
              <a:tabLst/>
              <a:defRPr/>
            </a:pPr>
            <a:r>
              <a:rPr lang="en-US" dirty="0"/>
              <a:t>https://content.techgig.com/technology/the-dawn-of-quantum-computing-introducing-qnodeos-the-first-quantum-operating-system/articleshow/120586133.cms</a:t>
            </a:r>
          </a:p>
          <a:p>
            <a:r>
              <a:rPr lang="en-US" b="0" i="0" dirty="0">
                <a:solidFill>
                  <a:srgbClr val="5C5C5C"/>
                </a:solidFill>
                <a:effectLst/>
                <a:latin typeface="Rubik"/>
              </a:rPr>
              <a:t>Quantum computing advances with </a:t>
            </a:r>
            <a:r>
              <a:rPr lang="en-US" b="0" i="0" dirty="0" err="1">
                <a:solidFill>
                  <a:srgbClr val="5C5C5C"/>
                </a:solidFill>
                <a:effectLst/>
                <a:latin typeface="Rubik"/>
              </a:rPr>
              <a:t>QNodeOS</a:t>
            </a:r>
            <a:r>
              <a:rPr lang="en-US" b="0" i="0" dirty="0">
                <a:solidFill>
                  <a:srgbClr val="5C5C5C"/>
                </a:solidFill>
                <a:effectLst/>
                <a:latin typeface="Rubik"/>
              </a:rPr>
              <a:t>. It is the first operating system for quantum computers. It supports different quantum systems. This solves compatibility issues. </a:t>
            </a:r>
            <a:r>
              <a:rPr lang="en-US" b="0" i="0" dirty="0" err="1">
                <a:solidFill>
                  <a:srgbClr val="5C5C5C"/>
                </a:solidFill>
                <a:effectLst/>
                <a:latin typeface="Rubik"/>
              </a:rPr>
              <a:t>QNodeOS</a:t>
            </a:r>
            <a:r>
              <a:rPr lang="en-US" b="0" i="0" dirty="0">
                <a:solidFill>
                  <a:srgbClr val="5C5C5C"/>
                </a:solidFill>
                <a:effectLst/>
                <a:latin typeface="Rubik"/>
              </a:rPr>
              <a:t> has two parts: CNPU and QNPU. It uses </a:t>
            </a:r>
            <a:r>
              <a:rPr lang="en-US" b="0" i="0" dirty="0" err="1">
                <a:solidFill>
                  <a:srgbClr val="5C5C5C"/>
                </a:solidFill>
                <a:effectLst/>
                <a:latin typeface="Rubik"/>
              </a:rPr>
              <a:t>NetQASM</a:t>
            </a:r>
            <a:r>
              <a:rPr lang="en-US" b="0" i="0" dirty="0">
                <a:solidFill>
                  <a:srgbClr val="5C5C5C"/>
                </a:solidFill>
                <a:effectLst/>
                <a:latin typeface="Rubik"/>
              </a:rPr>
              <a:t> for instructions. Researchers tested it by linking quantum computers. Future plans include more tests and improvements. </a:t>
            </a:r>
            <a:r>
              <a:rPr lang="en-US" b="0" i="0" dirty="0" err="1">
                <a:solidFill>
                  <a:srgbClr val="5C5C5C"/>
                </a:solidFill>
                <a:effectLst/>
                <a:latin typeface="Rubik"/>
              </a:rPr>
              <a:t>QNodeOS</a:t>
            </a:r>
            <a:r>
              <a:rPr lang="en-US" b="0" i="0" dirty="0">
                <a:solidFill>
                  <a:srgbClr val="5C5C5C"/>
                </a:solidFill>
                <a:effectLst/>
                <a:latin typeface="Rubik"/>
              </a:rPr>
              <a:t> may lead to advancements in various fields.</a:t>
            </a:r>
          </a:p>
          <a:p>
            <a:r>
              <a:rPr lang="en-US" b="0" i="0" dirty="0">
                <a:solidFill>
                  <a:srgbClr val="333333"/>
                </a:solidFill>
                <a:effectLst/>
                <a:latin typeface="Rubik"/>
              </a:rPr>
              <a:t>Quantum computers don’t use standard parts. Each machine can use a different kind of qubit. Some use atoms, others use diamonds, and a few use superconductors. </a:t>
            </a:r>
            <a:r>
              <a:rPr lang="en-US" b="0" i="0" dirty="0" err="1">
                <a:solidFill>
                  <a:srgbClr val="333333"/>
                </a:solidFill>
                <a:effectLst/>
                <a:latin typeface="Rubik"/>
              </a:rPr>
              <a:t>QNodeOS</a:t>
            </a:r>
            <a:r>
              <a:rPr lang="en-US" b="0" i="0" dirty="0">
                <a:solidFill>
                  <a:srgbClr val="333333"/>
                </a:solidFill>
                <a:effectLst/>
                <a:latin typeface="Rubik"/>
              </a:rPr>
              <a:t> connects them all.</a:t>
            </a:r>
          </a:p>
          <a:p>
            <a:pPr algn="l">
              <a:spcBef>
                <a:spcPts val="375"/>
              </a:spcBef>
              <a:spcAft>
                <a:spcPts val="750"/>
              </a:spcAft>
              <a:buFont typeface="Arial" panose="020B0604020202020204" pitchFamily="34" charset="0"/>
              <a:buChar char="•"/>
            </a:pPr>
            <a:r>
              <a:rPr lang="en-US" b="0" i="0" dirty="0" err="1">
                <a:solidFill>
                  <a:srgbClr val="333333"/>
                </a:solidFill>
                <a:effectLst/>
                <a:latin typeface="Rubik"/>
              </a:rPr>
              <a:t>QNodeOS</a:t>
            </a:r>
            <a:r>
              <a:rPr lang="en-US" b="0" i="0" dirty="0">
                <a:solidFill>
                  <a:srgbClr val="333333"/>
                </a:solidFill>
                <a:effectLst/>
                <a:latin typeface="Rubik"/>
              </a:rPr>
              <a:t> has a cool combo of two main parts:</a:t>
            </a:r>
            <a:br>
              <a:rPr lang="en-US" dirty="0"/>
            </a:br>
            <a:r>
              <a:rPr lang="en-US" b="1" i="0" dirty="0">
                <a:solidFill>
                  <a:srgbClr val="333333"/>
                </a:solidFill>
                <a:effectLst/>
                <a:latin typeface="Rubik"/>
              </a:rPr>
              <a:t>CNPU (Classical Network Processing Unit): </a:t>
            </a:r>
            <a:r>
              <a:rPr lang="en-US" b="0" i="0" dirty="0">
                <a:solidFill>
                  <a:srgbClr val="333333"/>
                </a:solidFill>
                <a:effectLst/>
                <a:latin typeface="Rubik"/>
              </a:rPr>
              <a:t>This kicks off code execution.</a:t>
            </a:r>
          </a:p>
          <a:p>
            <a:pPr algn="l">
              <a:spcBef>
                <a:spcPts val="375"/>
              </a:spcBef>
              <a:spcAft>
                <a:spcPts val="750"/>
              </a:spcAft>
              <a:buFont typeface="Arial" panose="020B0604020202020204" pitchFamily="34" charset="0"/>
              <a:buChar char="•"/>
            </a:pPr>
            <a:r>
              <a:rPr lang="en-US" b="1" i="0" dirty="0">
                <a:solidFill>
                  <a:srgbClr val="333333"/>
                </a:solidFill>
                <a:effectLst/>
                <a:latin typeface="Rubik"/>
              </a:rPr>
              <a:t>QNPU (Quantum Network Processing Unit): </a:t>
            </a:r>
            <a:r>
              <a:rPr lang="en-US" b="0" i="0" dirty="0">
                <a:solidFill>
                  <a:srgbClr val="333333"/>
                </a:solidFill>
                <a:effectLst/>
                <a:latin typeface="Rubik"/>
              </a:rPr>
              <a:t>This handles all </a:t>
            </a:r>
            <a:r>
              <a:rPr lang="en-US" b="0" i="0" u="none" strike="noStrike" dirty="0">
                <a:solidFill>
                  <a:srgbClr val="0D6EFD"/>
                </a:solidFill>
                <a:effectLst/>
                <a:latin typeface="Rubik"/>
                <a:hlinkClick r:id="rId5"/>
              </a:rPr>
              <a:t>quantum instructions</a:t>
            </a:r>
            <a:r>
              <a:rPr lang="en-US" b="0" i="0" dirty="0">
                <a:solidFill>
                  <a:srgbClr val="333333"/>
                </a:solidFill>
                <a:effectLst/>
                <a:latin typeface="Rubik"/>
              </a:rPr>
              <a:t>.</a:t>
            </a:r>
          </a:p>
          <a:p>
            <a:endParaRPr lang="en-US" b="0" i="0" dirty="0">
              <a:solidFill>
                <a:srgbClr val="333333"/>
              </a:solidFill>
              <a:effectLst/>
              <a:latin typeface="Rubik"/>
            </a:endParaRPr>
          </a:p>
          <a:p>
            <a:endParaRPr lang="en-US" b="0" i="0" dirty="0">
              <a:solidFill>
                <a:srgbClr val="333333"/>
              </a:solidFill>
              <a:effectLst/>
              <a:latin typeface="Rubik"/>
            </a:endParaRPr>
          </a:p>
          <a:p>
            <a:endParaRPr lang="en-US" b="0" i="0" dirty="0">
              <a:solidFill>
                <a:srgbClr val="333333"/>
              </a:solidFill>
              <a:effectLst/>
              <a:latin typeface="Rubik"/>
            </a:endParaRPr>
          </a:p>
          <a:p>
            <a:r>
              <a:rPr lang="en-US" b="0" i="0" dirty="0">
                <a:solidFill>
                  <a:srgbClr val="333333"/>
                </a:solidFill>
                <a:effectLst/>
                <a:latin typeface="Rubik"/>
              </a:rPr>
              <a:t>https://www.fujitsu.com/global/about/resources/news/press-releases/2025/0422-01.html</a:t>
            </a:r>
          </a:p>
          <a:p>
            <a:pPr algn="l">
              <a:spcBef>
                <a:spcPts val="2550"/>
              </a:spcBef>
              <a:buNone/>
            </a:pPr>
            <a:r>
              <a:rPr lang="en-US" b="0" i="0" dirty="0">
                <a:solidFill>
                  <a:srgbClr val="000000"/>
                </a:solidFill>
                <a:effectLst/>
                <a:latin typeface="FujitsuInfinityPro-Regular"/>
              </a:rPr>
              <a:t>Fujitsu Limited and RIKEN today announced the development of a world-leading 256-qubit superconducting quantum computer, established at the RIKEN RQC-FUJITSU Collaboration Center. This new quantum computer builds upon the advanced technology of the 64-qubit iteration, launched with the support of the Japanese Ministry of Education, Culture, Sports, Science and Technology (MEXT)</a:t>
            </a:r>
            <a:r>
              <a:rPr lang="en-US" b="0" i="0" baseline="30000" dirty="0">
                <a:solidFill>
                  <a:srgbClr val="000000"/>
                </a:solidFill>
                <a:effectLst/>
                <a:latin typeface="FujitsuInfinityPro-Regular"/>
              </a:rPr>
              <a:t>(</a:t>
            </a:r>
            <a:r>
              <a:rPr lang="en-US" b="0" i="0" u="sng" baseline="30000" dirty="0">
                <a:solidFill>
                  <a:srgbClr val="000000"/>
                </a:solidFill>
                <a:effectLst/>
                <a:latin typeface="FujitsuInfinityPro-Regular"/>
                <a:hlinkClick r:id="rId6"/>
              </a:rPr>
              <a:t>1</a:t>
            </a:r>
            <a:r>
              <a:rPr lang="en-US" b="0" i="0" baseline="30000" dirty="0">
                <a:solidFill>
                  <a:srgbClr val="000000"/>
                </a:solidFill>
                <a:effectLst/>
                <a:latin typeface="FujitsuInfinityPro-Regular"/>
              </a:rPr>
              <a:t>)</a:t>
            </a:r>
            <a:r>
              <a:rPr lang="en-US" b="0" i="0" dirty="0">
                <a:solidFill>
                  <a:srgbClr val="000000"/>
                </a:solidFill>
                <a:effectLst/>
                <a:latin typeface="FujitsuInfinityPro-Regular"/>
              </a:rPr>
              <a:t> in October 2023, and incorporates newly-developed high-density implementation techniques. This announcement marks another crucial step toward the practical application of superconducting quantum computers and unlocking their potential to grapple with some of the world’s most complex issues.</a:t>
            </a:r>
          </a:p>
          <a:p>
            <a:pPr algn="l">
              <a:spcBef>
                <a:spcPts val="2550"/>
              </a:spcBef>
            </a:pPr>
            <a:r>
              <a:rPr lang="en-US" b="0" i="0" dirty="0">
                <a:solidFill>
                  <a:srgbClr val="000000"/>
                </a:solidFill>
                <a:effectLst/>
                <a:latin typeface="FujitsuInfinityPro-Regular"/>
              </a:rPr>
              <a:t>Both organizations will integrate the 256-qubit superconducting quantum computer into its platform for hybrid quantum computing lineup and offer it to companies and research institutions globally starting in the first quarter of fiscal 2025. The platform's expansion from 64 to 256 qubits empowers users to tackle more complex challenges, including the analysis of larger molecules and the implementation and demonstration of sophisticated error correction algorithms.</a:t>
            </a:r>
          </a:p>
          <a:p>
            <a:endParaRPr lang="en-US" b="0" i="0" dirty="0">
              <a:solidFill>
                <a:srgbClr val="333333"/>
              </a:solidFill>
              <a:effectLst/>
              <a:latin typeface="Rubik"/>
            </a:endParaRPr>
          </a:p>
          <a:p>
            <a:endParaRPr lang="en-US" dirty="0"/>
          </a:p>
        </p:txBody>
      </p:sp>
      <p:sp>
        <p:nvSpPr>
          <p:cNvPr id="4" name="Slide Number Placeholder 3"/>
          <p:cNvSpPr>
            <a:spLocks noGrp="1"/>
          </p:cNvSpPr>
          <p:nvPr>
            <p:ph type="sldNum" sz="quarter" idx="5"/>
          </p:nvPr>
        </p:nvSpPr>
        <p:spPr/>
        <p:txBody>
          <a:bodyPr/>
          <a:lstStyle/>
          <a:p>
            <a:fld id="{9502F7FA-3984-4F9D-BF36-30DAB3280DBC}" type="slidenum">
              <a:rPr lang="de-DE" smtClean="0"/>
              <a:t>11</a:t>
            </a:fld>
            <a:endParaRPr lang="de-DE"/>
          </a:p>
        </p:txBody>
      </p:sp>
    </p:spTree>
    <p:extLst>
      <p:ext uri="{BB962C8B-B14F-4D97-AF65-F5344CB8AC3E}">
        <p14:creationId xmlns:p14="http://schemas.microsoft.com/office/powerpoint/2010/main" val="24215427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8.5min</a:t>
            </a:r>
          </a:p>
        </p:txBody>
      </p:sp>
      <p:sp>
        <p:nvSpPr>
          <p:cNvPr id="4" name="Slide Number Placeholder 3"/>
          <p:cNvSpPr>
            <a:spLocks noGrp="1"/>
          </p:cNvSpPr>
          <p:nvPr>
            <p:ph type="sldNum" sz="quarter" idx="5"/>
          </p:nvPr>
        </p:nvSpPr>
        <p:spPr/>
        <p:txBody>
          <a:bodyPr/>
          <a:lstStyle/>
          <a:p>
            <a:fld id="{9502F7FA-3984-4F9D-BF36-30DAB3280DBC}" type="slidenum">
              <a:rPr lang="de-DE" smtClean="0"/>
              <a:t>12</a:t>
            </a:fld>
            <a:endParaRPr lang="de-DE"/>
          </a:p>
        </p:txBody>
      </p:sp>
    </p:spTree>
    <p:extLst>
      <p:ext uri="{BB962C8B-B14F-4D97-AF65-F5344CB8AC3E}">
        <p14:creationId xmlns:p14="http://schemas.microsoft.com/office/powerpoint/2010/main" val="9944799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9.5min</a:t>
            </a:r>
          </a:p>
          <a:p>
            <a:endParaRPr lang="en-US" dirty="0"/>
          </a:p>
          <a:p>
            <a:r>
              <a:rPr lang="en-US" dirty="0" err="1"/>
              <a:t>Bruteforce</a:t>
            </a:r>
            <a:r>
              <a:rPr lang="en-US" dirty="0"/>
              <a:t> preimage attack – generate preimage after you know the target hash</a:t>
            </a:r>
          </a:p>
          <a:p>
            <a:r>
              <a:rPr lang="en-US" dirty="0"/>
              <a:t>Use Grover’s algorithm to check guesses live -&gt; classical </a:t>
            </a:r>
            <a:r>
              <a:rPr lang="en-US" dirty="0" err="1"/>
              <a:t>bruteforce</a:t>
            </a:r>
            <a:r>
              <a:rPr lang="en-US" dirty="0"/>
              <a:t> resistance is 2^n -&gt; </a:t>
            </a:r>
            <a:r>
              <a:rPr lang="en-US" dirty="0" err="1"/>
              <a:t>grover’s</a:t>
            </a:r>
            <a:r>
              <a:rPr lang="en-US" dirty="0"/>
              <a:t> algorithm halves to 2^(n/2) operations</a:t>
            </a:r>
          </a:p>
          <a:p>
            <a:r>
              <a:rPr lang="en-US" dirty="0"/>
              <a:t>ChaCha20: stream cipher using 256 bit key</a:t>
            </a:r>
          </a:p>
          <a:p>
            <a:r>
              <a:rPr lang="en-US" dirty="0"/>
              <a:t>- Works well on resource constrained devices</a:t>
            </a:r>
          </a:p>
        </p:txBody>
      </p:sp>
      <p:sp>
        <p:nvSpPr>
          <p:cNvPr id="4" name="Slide Number Placeholder 3"/>
          <p:cNvSpPr>
            <a:spLocks noGrp="1"/>
          </p:cNvSpPr>
          <p:nvPr>
            <p:ph type="sldNum" sz="quarter" idx="5"/>
          </p:nvPr>
        </p:nvSpPr>
        <p:spPr/>
        <p:txBody>
          <a:bodyPr/>
          <a:lstStyle/>
          <a:p>
            <a:fld id="{9502F7FA-3984-4F9D-BF36-30DAB3280DBC}" type="slidenum">
              <a:rPr lang="de-DE" smtClean="0"/>
              <a:t>13</a:t>
            </a:fld>
            <a:endParaRPr lang="de-DE"/>
          </a:p>
        </p:txBody>
      </p:sp>
    </p:spTree>
    <p:extLst>
      <p:ext uri="{BB962C8B-B14F-4D97-AF65-F5344CB8AC3E}">
        <p14:creationId xmlns:p14="http://schemas.microsoft.com/office/powerpoint/2010/main" val="15448698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92FD4C-CC3B-B215-F876-DAFD40FB12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63A441-2599-FD23-432A-C5CC166003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D888A6-20FC-80DE-F627-7B8679E6B2B4}"/>
              </a:ext>
            </a:extLst>
          </p:cNvPr>
          <p:cNvSpPr>
            <a:spLocks noGrp="1"/>
          </p:cNvSpPr>
          <p:nvPr>
            <p:ph type="body" idx="1"/>
          </p:nvPr>
        </p:nvSpPr>
        <p:spPr/>
        <p:txBody>
          <a:bodyPr/>
          <a:lstStyle/>
          <a:p>
            <a:r>
              <a:rPr lang="en-US" dirty="0"/>
              <a:t>10.5min</a:t>
            </a:r>
          </a:p>
        </p:txBody>
      </p:sp>
      <p:sp>
        <p:nvSpPr>
          <p:cNvPr id="4" name="Slide Number Placeholder 3">
            <a:extLst>
              <a:ext uri="{FF2B5EF4-FFF2-40B4-BE49-F238E27FC236}">
                <a16:creationId xmlns:a16="http://schemas.microsoft.com/office/drawing/2014/main" id="{56FC0D6B-EAD8-F8EE-CA14-EECFCFB020FB}"/>
              </a:ext>
            </a:extLst>
          </p:cNvPr>
          <p:cNvSpPr>
            <a:spLocks noGrp="1"/>
          </p:cNvSpPr>
          <p:nvPr>
            <p:ph type="sldNum" sz="quarter" idx="5"/>
          </p:nvPr>
        </p:nvSpPr>
        <p:spPr/>
        <p:txBody>
          <a:bodyPr/>
          <a:lstStyle/>
          <a:p>
            <a:fld id="{9502F7FA-3984-4F9D-BF36-30DAB3280DBC}" type="slidenum">
              <a:rPr lang="de-DE" smtClean="0"/>
              <a:t>14</a:t>
            </a:fld>
            <a:endParaRPr lang="de-DE"/>
          </a:p>
        </p:txBody>
      </p:sp>
    </p:spTree>
    <p:extLst>
      <p:ext uri="{BB962C8B-B14F-4D97-AF65-F5344CB8AC3E}">
        <p14:creationId xmlns:p14="http://schemas.microsoft.com/office/powerpoint/2010/main" val="24441126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0.5min</a:t>
            </a:r>
          </a:p>
          <a:p>
            <a:endParaRPr lang="en-US" dirty="0"/>
          </a:p>
          <a:p>
            <a:endParaRPr lang="en-US" dirty="0"/>
          </a:p>
          <a:p>
            <a:r>
              <a:rPr lang="en-US" dirty="0"/>
              <a:t>1:</a:t>
            </a:r>
          </a:p>
          <a:p>
            <a:r>
              <a:rPr lang="en-US" dirty="0"/>
              <a:t>Immobilizer uses fixed or poorly implemented challenge-response protocol, replay or predict or calculate secret key</a:t>
            </a:r>
          </a:p>
          <a:p>
            <a:r>
              <a:rPr lang="en-US" dirty="0"/>
              <a:t>https://www.youtube.com/watch?v=7_ACE7sMXXk</a:t>
            </a:r>
          </a:p>
          <a:p>
            <a:r>
              <a:rPr lang="en-US" dirty="0"/>
              <a:t>https://insideevs.com/news/724328/hyundai-kia-ioniq-5-gameboy/</a:t>
            </a:r>
          </a:p>
          <a:p>
            <a:r>
              <a:rPr lang="en-US" dirty="0"/>
              <a:t>https://auto.hindustantimes.com/auto/electric-vehicles/game-boy-hacks-hit-hyundai-kia-ioniq-5-ev6-at-risk-heres-how-it-works-41720091056409.html</a:t>
            </a:r>
          </a:p>
          <a:p>
            <a:r>
              <a:rPr lang="en-US" dirty="0"/>
              <a:t>Open door handle to activate handshake protocol and “owner key fob” – but in this case attack device/Gameboy</a:t>
            </a:r>
          </a:p>
          <a:p>
            <a:r>
              <a:rPr lang="en-US" dirty="0"/>
              <a:t>Device talks to car, use specific </a:t>
            </a:r>
            <a:r>
              <a:rPr lang="en-US" dirty="0" err="1"/>
              <a:t>algortithm</a:t>
            </a:r>
            <a:r>
              <a:rPr lang="en-US" dirty="0"/>
              <a:t> to calculate right code (in seconds)</a:t>
            </a:r>
          </a:p>
          <a:p>
            <a:pPr marL="0" marR="0" lvl="0" indent="0" algn="l" defTabSz="863995" rtl="0" eaLnBrk="1" fontAlgn="auto" latinLnBrk="0" hangingPunct="1">
              <a:lnSpc>
                <a:spcPct val="100000"/>
              </a:lnSpc>
              <a:spcBef>
                <a:spcPts val="0"/>
              </a:spcBef>
              <a:spcAft>
                <a:spcPts val="0"/>
              </a:spcAft>
              <a:buClrTx/>
              <a:buSzTx/>
              <a:buFontTx/>
              <a:buNone/>
              <a:tabLst/>
              <a:defRPr/>
            </a:pPr>
            <a:r>
              <a:rPr lang="en-US" altLang="ja-JP" dirty="0"/>
              <a:t>use attack device as key and drive of with vehicle</a:t>
            </a:r>
          </a:p>
          <a:p>
            <a:r>
              <a:rPr lang="en-US" dirty="0"/>
              <a:t>Attacker can then deactivate car’s connectivity unit to make GPS and in-app tracking useless</a:t>
            </a:r>
          </a:p>
          <a:p>
            <a:r>
              <a:rPr lang="en-US" dirty="0"/>
              <a:t>Some vehicles requires a unique PIN to be generated based on VIN</a:t>
            </a:r>
          </a:p>
          <a:p>
            <a:r>
              <a:rPr lang="en-US" b="0" i="0" dirty="0">
                <a:solidFill>
                  <a:srgbClr val="000000"/>
                </a:solidFill>
                <a:effectLst/>
                <a:latin typeface="Courier New" panose="02070309020205020404" pitchFamily="49" charset="0"/>
              </a:rPr>
              <a:t>However, the \"Game Boy\" emulator bypasses the key fob altogether. In some cases, owners weren't even in the same country when their vehicles were stolen.(Also read: In battle vs TikTok challenge, Hyundai launches anti-theft clinics for owners)Once the emulator unlocks the car, it essentially acts as a key, allowing the thief to drive away. To further evade capture, thieves can remove the car's connectivity modules, rendering GPS and in-app tracking </a:t>
            </a:r>
            <a:r>
              <a:rPr lang="en-US" b="0" i="0" dirty="0" err="1">
                <a:solidFill>
                  <a:srgbClr val="000000"/>
                </a:solidFill>
                <a:effectLst/>
                <a:latin typeface="Courier New" panose="02070309020205020404" pitchFamily="49" charset="0"/>
              </a:rPr>
              <a:t>useless.Target</a:t>
            </a:r>
            <a:r>
              <a:rPr lang="en-US" b="0" i="0" dirty="0">
                <a:solidFill>
                  <a:srgbClr val="000000"/>
                </a:solidFill>
                <a:effectLst/>
                <a:latin typeface="Courier New" panose="02070309020205020404" pitchFamily="49" charset="0"/>
              </a:rPr>
              <a:t> range and additional security </a:t>
            </a:r>
            <a:r>
              <a:rPr lang="en-US" b="0" i="0" dirty="0" err="1">
                <a:solidFill>
                  <a:srgbClr val="000000"/>
                </a:solidFill>
                <a:effectLst/>
                <a:latin typeface="Courier New" panose="02070309020205020404" pitchFamily="49" charset="0"/>
              </a:rPr>
              <a:t>measuresA</a:t>
            </a:r>
            <a:r>
              <a:rPr lang="en-US" b="0" i="0" dirty="0">
                <a:solidFill>
                  <a:srgbClr val="000000"/>
                </a:solidFill>
                <a:effectLst/>
                <a:latin typeface="Courier New" panose="02070309020205020404" pitchFamily="49" charset="0"/>
              </a:rPr>
              <a:t> report by </a:t>
            </a:r>
            <a:r>
              <a:rPr lang="en-US" b="0" i="0" dirty="0" err="1">
                <a:solidFill>
                  <a:srgbClr val="000000"/>
                </a:solidFill>
                <a:effectLst/>
                <a:latin typeface="Courier New" panose="02070309020205020404" pitchFamily="49" charset="0"/>
              </a:rPr>
              <a:t>InsideEVs</a:t>
            </a:r>
            <a:r>
              <a:rPr lang="en-US" b="0" i="0" dirty="0">
                <a:solidFill>
                  <a:srgbClr val="000000"/>
                </a:solidFill>
                <a:effectLst/>
                <a:latin typeface="Courier New" panose="02070309020205020404" pitchFamily="49" charset="0"/>
              </a:rPr>
              <a:t> stated that resellers of the emulator claim it can steal a Hyundai Ioniq 5, Kia EV6, or Genesis GV60 within seconds.</a:t>
            </a:r>
            <a:endParaRPr lang="en-US" dirty="0"/>
          </a:p>
          <a:p>
            <a:endParaRPr lang="en-US" dirty="0"/>
          </a:p>
          <a:p>
            <a:endParaRPr lang="en-US" dirty="0"/>
          </a:p>
          <a:p>
            <a:r>
              <a:rPr lang="en-US" dirty="0"/>
              <a:t>2:</a:t>
            </a:r>
          </a:p>
          <a:p>
            <a:r>
              <a:rPr lang="en-US" dirty="0"/>
              <a:t>Tesla wall charger</a:t>
            </a:r>
          </a:p>
          <a:p>
            <a:r>
              <a:rPr lang="en-US" dirty="0"/>
              <a:t>Firmware: not checking lower bound values </a:t>
            </a:r>
          </a:p>
          <a:p>
            <a:r>
              <a:rPr lang="en-US" dirty="0"/>
              <a:t>Communication protocol: allowing malformed data frames</a:t>
            </a:r>
          </a:p>
          <a:p>
            <a:endParaRPr lang="en-US" dirty="0"/>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1. Numeric Range Comparison Without Minimum Check</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CWE Reference: CWE-839: Numeric Range Comparison Without Minimum Check</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Explanation: The firmware performed range checks on numeric input values (e.g., voltage, current, or command identifiers) using only an upper bound, neglecting the lower bound. This allowed attackers to submit zero, negative, or out-of-specification values that should have been rejected.</a:t>
            </a:r>
          </a:p>
          <a:p>
            <a:pPr marL="0" marR="0" lvl="0" indent="0" algn="l" defTabSz="863995" rtl="0" eaLnBrk="1" fontAlgn="auto" latinLnBrk="0" hangingPunct="1">
              <a:lnSpc>
                <a:spcPct val="100000"/>
              </a:lnSpc>
              <a:spcBef>
                <a:spcPts val="0"/>
              </a:spcBef>
              <a:spcAft>
                <a:spcPts val="0"/>
              </a:spcAft>
              <a:buClrTx/>
              <a:buSzTx/>
              <a:buFontTx/>
              <a:buNone/>
              <a:tabLst/>
              <a:defRPr/>
            </a:pPr>
            <a:r>
              <a:rPr lang="en-US" sz="1800" dirty="0">
                <a:effectLst/>
                <a:latin typeface="Aptos" panose="020B0004020202020204" pitchFamily="34" charset="0"/>
                <a:ea typeface="DengXian" panose="02010600030101010101" pitchFamily="2" charset="-122"/>
                <a:cs typeface="Aptos" panose="020B0004020202020204" pitchFamily="34" charset="0"/>
              </a:rPr>
              <a:t>Exploitation Vector: Crafted input values could bypass normal validation routines, triggering unintended logic branches or system behavior (e.g., enabling debug modes or bypassing authentication gates).</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The attacker transmits configuration commands or status requests with values like 0xFFFF, 0, or negative integers (e.g., -1 interpreted as 0xFFFFFFFF). The Wall Connector’s firmware fails to validate the minimum boundary, resulting in:</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Overflow conditions</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Unintended command handling</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Bypass of access controls (e.g., debug commands processed under the assumption they were legitimate).</a:t>
            </a:r>
          </a:p>
          <a:p>
            <a:endParaRPr lang="en-US" dirty="0"/>
          </a:p>
          <a:p>
            <a:r>
              <a:rPr lang="en-US" sz="1800" kern="0" dirty="0">
                <a:effectLst/>
                <a:latin typeface="Aptos" panose="020B0004020202020204" pitchFamily="34" charset="0"/>
                <a:ea typeface="DengXian" panose="02010600030101010101" pitchFamily="2" charset="-122"/>
                <a:cs typeface="Aptos" panose="020B0004020202020204" pitchFamily="34" charset="0"/>
              </a:rPr>
              <a:t>Explanation: The Tesla Wall Connector utilizes a proprietary communication protocol over the charging connector to negotiate charging state, power levels, and firmware signaling. The connector was found to allow unvalidated or malformed data frames, which the firmware failed to correctly parse or sanitize</a:t>
            </a:r>
          </a:p>
          <a:p>
            <a:pPr marL="0" marR="0" lvl="0" indent="0" algn="l" defTabSz="863995" rtl="0" eaLnBrk="1" fontAlgn="auto" latinLnBrk="0" hangingPunct="1">
              <a:lnSpc>
                <a:spcPct val="100000"/>
              </a:lnSpc>
              <a:spcBef>
                <a:spcPts val="0"/>
              </a:spcBef>
              <a:spcAft>
                <a:spcPts val="0"/>
              </a:spcAft>
              <a:buClrTx/>
              <a:buSzTx/>
              <a:buFontTx/>
              <a:buNone/>
              <a:tabLst/>
              <a:defRPr/>
            </a:pPr>
            <a:r>
              <a:rPr lang="en-US" sz="1800" dirty="0">
                <a:effectLst/>
                <a:latin typeface="Aptos" panose="020B0004020202020204" pitchFamily="34" charset="0"/>
                <a:ea typeface="DengXian" panose="02010600030101010101" pitchFamily="2" charset="-122"/>
                <a:cs typeface="Aptos" panose="020B0004020202020204" pitchFamily="34" charset="0"/>
              </a:rPr>
              <a:t>Exploitation Vector: By sending non-standard sequences or control bytes over the charging interface (through a modified vehicle or test rig), attackers could trigger firmware misbehavior, including memory corruption or command injection.</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How: Custom payloads are sent directly over the signaling lines (e.g., PLC or UART-over-CP/PP). These malformed frames either:</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Crash the parser (causing DoS),</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Cause undefined behavior,</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Lead to command injection due to missing sanitization of control fields.</a:t>
            </a:r>
          </a:p>
          <a:p>
            <a:pPr marL="0" marR="0"/>
            <a:r>
              <a:rPr lang="en-US" sz="1800" dirty="0">
                <a:effectLst/>
                <a:latin typeface="Aptos" panose="020B0004020202020204" pitchFamily="34" charset="0"/>
                <a:ea typeface="DengXian" panose="02010600030101010101" pitchFamily="2" charset="-122"/>
                <a:cs typeface="Aptos" panose="020B0004020202020204" pitchFamily="34" charset="0"/>
              </a:rPr>
              <a:t>Example: Sending non-standard 0xE0 frame with reserved command byte interpreted as firmware update trigger.</a:t>
            </a:r>
          </a:p>
          <a:p>
            <a:endParaRPr lang="en-US" dirty="0"/>
          </a:p>
          <a:p>
            <a:endParaRPr lang="en-US" dirty="0"/>
          </a:p>
          <a:p>
            <a:r>
              <a:rPr lang="en-US" dirty="0"/>
              <a:t>3:</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Skoda Superb III Infotainment System Vulnerability (December 2024)</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 Initial </a:t>
            </a:r>
            <a:r>
              <a:rPr lang="en-US" sz="1800" dirty="0" err="1">
                <a:effectLst/>
                <a:latin typeface="Aptos" panose="020B0004020202020204" pitchFamily="34" charset="0"/>
                <a:ea typeface="DengXian" panose="02010600030101010101" pitchFamily="2" charset="-122"/>
                <a:cs typeface="Aptos" panose="020B0004020202020204" pitchFamily="34" charset="0"/>
              </a:rPr>
              <a:t>Entrypoint</a:t>
            </a:r>
            <a:r>
              <a:rPr lang="en-US" sz="1800" dirty="0">
                <a:effectLst/>
                <a:latin typeface="Aptos" panose="020B0004020202020204" pitchFamily="34" charset="0"/>
                <a:ea typeface="DengXian" panose="02010600030101010101" pitchFamily="2" charset="-122"/>
                <a:cs typeface="Aptos" panose="020B0004020202020204" pitchFamily="34" charset="0"/>
              </a:rPr>
              <a:t>:</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Bluetooth interface of the vehicle’s MIB3 infotainment system, exploitable within short-range (~10 meters).</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MIB3 Bluetooth stack and infotainment firmware.</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Weakness: Improper isolation, unauthenticated services exposed via Bluetooth, and firmware that allowed unsigned code execution.</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Result: Attackers could inject persistent malware and extract real-time vehicle and user data.</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 </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 </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Attack Path (Step by Step):</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1. Attacker uses a Bluetooth sniffer near the vehicle to detect and identify the infotainment system. </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2. They exploit vulnerable Bluetooth services to achieve code execution on the MIB3 platform.</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3. Malware is injected into the system memory or saved to persist on reboot.</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4. Malware establishes data exfiltration or control channels (e.g., storing logs, activating microphones, reading navigation data).</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5. No user interaction is needed, and there is minimal visible sign of compromise</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Final Result:</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Attackers could:</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Read GPS and movement data</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Access and record microphone audio</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Mirror infotainment screen</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Harvest contact and call history from paired devices</a:t>
            </a:r>
          </a:p>
          <a:p>
            <a:pPr marL="0" marR="0">
              <a:buNone/>
            </a:pPr>
            <a:r>
              <a:rPr lang="en-US" sz="1800" kern="0" dirty="0">
                <a:effectLst/>
                <a:latin typeface="Aptos" panose="020B0004020202020204" pitchFamily="34" charset="0"/>
                <a:ea typeface="DengXian" panose="02010600030101010101" pitchFamily="2" charset="-122"/>
                <a:cs typeface="Aptos" panose="020B0004020202020204" pitchFamily="34" charset="0"/>
              </a:rPr>
              <a:t>Maintain access persistently across vehicle restarts</a:t>
            </a:r>
            <a:endParaRPr lang="en-US" dirty="0"/>
          </a:p>
          <a:p>
            <a:endParaRPr lang="en-US" dirty="0"/>
          </a:p>
          <a:p>
            <a:r>
              <a:rPr lang="en-US" dirty="0"/>
              <a:t>-----------------------</a:t>
            </a:r>
          </a:p>
          <a:p>
            <a:endParaRPr lang="en-US" dirty="0"/>
          </a:p>
          <a:p>
            <a:r>
              <a:rPr lang="en-US" dirty="0"/>
              <a:t>https://openclipart.org/detail/120859/wallpaper-linux</a:t>
            </a:r>
          </a:p>
          <a:p>
            <a:r>
              <a:rPr lang="en-US" dirty="0"/>
              <a:t>https://openclipart.org/detail/242433/Bluetooth</a:t>
            </a:r>
          </a:p>
          <a:p>
            <a:r>
              <a:rPr lang="en-US" dirty="0"/>
              <a:t>https://openclipart.org/detail/245083/wireless-signal-icon</a:t>
            </a:r>
          </a:p>
          <a:p>
            <a:r>
              <a:rPr lang="en-US" dirty="0"/>
              <a:t>https://www.freepik.com/free-vector/empty-car-interior-inside-with-gps-dashboard_6362787.htm#query=car%20display&amp;position=26</a:t>
            </a:r>
          </a:p>
          <a:p>
            <a:endParaRPr lang="en-US" dirty="0"/>
          </a:p>
          <a:p>
            <a:r>
              <a:rPr lang="en-US" dirty="0"/>
              <a:t>https://www.freepik.com/free-vector/car-electronics-icons-set_6405911.htm#page=1&amp;query=electronic%20control%20unit&amp;position=7</a:t>
            </a:r>
          </a:p>
          <a:p>
            <a:r>
              <a:rPr lang="en-US" dirty="0"/>
              <a:t>Opened in </a:t>
            </a:r>
            <a:r>
              <a:rPr lang="en-US" dirty="0" err="1"/>
              <a:t>scribus</a:t>
            </a:r>
            <a:r>
              <a:rPr lang="en-US" dirty="0"/>
              <a:t>, ungrouped, selected only the ECU and copied into a new document (100x100px) and exported as </a:t>
            </a:r>
            <a:r>
              <a:rPr lang="en-US" dirty="0" err="1"/>
              <a:t>svg</a:t>
            </a:r>
            <a:r>
              <a:rPr lang="en-US" dirty="0"/>
              <a:t>: </a:t>
            </a:r>
            <a:r>
              <a:rPr lang="en-US" dirty="0" err="1"/>
              <a:t>ECU.svg</a:t>
            </a:r>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9502F7FA-3984-4F9D-BF36-30DAB3280DBC}" type="slidenum">
              <a:rPr lang="de-DE" smtClean="0"/>
              <a:t>15</a:t>
            </a:fld>
            <a:endParaRPr lang="de-DE"/>
          </a:p>
        </p:txBody>
      </p:sp>
    </p:spTree>
    <p:extLst>
      <p:ext uri="{BB962C8B-B14F-4D97-AF65-F5344CB8AC3E}">
        <p14:creationId xmlns:p14="http://schemas.microsoft.com/office/powerpoint/2010/main" val="20724756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2.5min</a:t>
            </a:r>
          </a:p>
        </p:txBody>
      </p:sp>
      <p:sp>
        <p:nvSpPr>
          <p:cNvPr id="4" name="Slide Number Placeholder 3"/>
          <p:cNvSpPr>
            <a:spLocks noGrp="1"/>
          </p:cNvSpPr>
          <p:nvPr>
            <p:ph type="sldNum" sz="quarter" idx="5"/>
          </p:nvPr>
        </p:nvSpPr>
        <p:spPr/>
        <p:txBody>
          <a:bodyPr/>
          <a:lstStyle/>
          <a:p>
            <a:fld id="{9502F7FA-3984-4F9D-BF36-30DAB3280DBC}" type="slidenum">
              <a:rPr lang="de-DE" smtClean="0"/>
              <a:t>16</a:t>
            </a:fld>
            <a:endParaRPr lang="de-DE"/>
          </a:p>
        </p:txBody>
      </p:sp>
    </p:spTree>
    <p:extLst>
      <p:ext uri="{BB962C8B-B14F-4D97-AF65-F5344CB8AC3E}">
        <p14:creationId xmlns:p14="http://schemas.microsoft.com/office/powerpoint/2010/main" val="24417094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DEB411-9F78-6C1C-9803-A02150D970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5D35CD-7A7C-D25F-B548-6955096627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14E936-99F8-1B1F-BC95-35CB8103530C}"/>
              </a:ext>
            </a:extLst>
          </p:cNvPr>
          <p:cNvSpPr>
            <a:spLocks noGrp="1"/>
          </p:cNvSpPr>
          <p:nvPr>
            <p:ph type="body" idx="1"/>
          </p:nvPr>
        </p:nvSpPr>
        <p:spPr/>
        <p:txBody>
          <a:bodyPr/>
          <a:lstStyle/>
          <a:p>
            <a:r>
              <a:rPr lang="en-US" dirty="0"/>
              <a:t>12.5min</a:t>
            </a:r>
          </a:p>
        </p:txBody>
      </p:sp>
      <p:sp>
        <p:nvSpPr>
          <p:cNvPr id="4" name="Slide Number Placeholder 3">
            <a:extLst>
              <a:ext uri="{FF2B5EF4-FFF2-40B4-BE49-F238E27FC236}">
                <a16:creationId xmlns:a16="http://schemas.microsoft.com/office/drawing/2014/main" id="{F21663D5-16AE-C6CA-9768-9998144F3569}"/>
              </a:ext>
            </a:extLst>
          </p:cNvPr>
          <p:cNvSpPr>
            <a:spLocks noGrp="1"/>
          </p:cNvSpPr>
          <p:nvPr>
            <p:ph type="sldNum" sz="quarter" idx="5"/>
          </p:nvPr>
        </p:nvSpPr>
        <p:spPr/>
        <p:txBody>
          <a:bodyPr/>
          <a:lstStyle/>
          <a:p>
            <a:fld id="{9502F7FA-3984-4F9D-BF36-30DAB3280DBC}" type="slidenum">
              <a:rPr lang="de-DE" smtClean="0"/>
              <a:t>17</a:t>
            </a:fld>
            <a:endParaRPr lang="de-DE"/>
          </a:p>
        </p:txBody>
      </p:sp>
    </p:spTree>
    <p:extLst>
      <p:ext uri="{BB962C8B-B14F-4D97-AF65-F5344CB8AC3E}">
        <p14:creationId xmlns:p14="http://schemas.microsoft.com/office/powerpoint/2010/main" val="41948333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3.5min</a:t>
            </a:r>
          </a:p>
        </p:txBody>
      </p:sp>
      <p:sp>
        <p:nvSpPr>
          <p:cNvPr id="4" name="Slide Number Placeholder 3"/>
          <p:cNvSpPr>
            <a:spLocks noGrp="1"/>
          </p:cNvSpPr>
          <p:nvPr>
            <p:ph type="sldNum" sz="quarter" idx="5"/>
          </p:nvPr>
        </p:nvSpPr>
        <p:spPr/>
        <p:txBody>
          <a:bodyPr/>
          <a:lstStyle/>
          <a:p>
            <a:fld id="{9502F7FA-3984-4F9D-BF36-30DAB3280DBC}" type="slidenum">
              <a:rPr lang="de-DE" smtClean="0"/>
              <a:t>18</a:t>
            </a:fld>
            <a:endParaRPr lang="de-DE"/>
          </a:p>
        </p:txBody>
      </p:sp>
    </p:spTree>
    <p:extLst>
      <p:ext uri="{BB962C8B-B14F-4D97-AF65-F5344CB8AC3E}">
        <p14:creationId xmlns:p14="http://schemas.microsoft.com/office/powerpoint/2010/main" val="38928633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6BFC29-FCA4-B1E4-6C23-6EFBC98415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E0EB6E-16C6-F24A-2275-288789022D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D00348-1526-6ECE-4B96-229D9F807609}"/>
              </a:ext>
            </a:extLst>
          </p:cNvPr>
          <p:cNvSpPr>
            <a:spLocks noGrp="1"/>
          </p:cNvSpPr>
          <p:nvPr>
            <p:ph type="body" idx="1"/>
          </p:nvPr>
        </p:nvSpPr>
        <p:spPr/>
        <p:txBody>
          <a:bodyPr/>
          <a:lstStyle/>
          <a:p>
            <a:r>
              <a:rPr lang="en-US" dirty="0"/>
              <a:t>15min</a:t>
            </a:r>
          </a:p>
          <a:p>
            <a:endParaRPr lang="en-US" dirty="0"/>
          </a:p>
          <a:p>
            <a:r>
              <a:rPr lang="en-US" dirty="0"/>
              <a:t>1: register as fake dealer</a:t>
            </a:r>
          </a:p>
          <a:p>
            <a:endParaRPr lang="en-US" dirty="0"/>
          </a:p>
          <a:p>
            <a:r>
              <a:rPr lang="en-US" dirty="0"/>
              <a:t>2: use </a:t>
            </a:r>
            <a:r>
              <a:rPr lang="en-US" dirty="0" err="1"/>
              <a:t>burpsuite</a:t>
            </a:r>
            <a:r>
              <a:rPr lang="en-US" dirty="0"/>
              <a:t> to inspect and modify traffic to identify sensitive API calls, e.g. reassign owner call</a:t>
            </a:r>
          </a:p>
          <a:p>
            <a:endParaRPr lang="en-US" dirty="0"/>
          </a:p>
          <a:p>
            <a:r>
              <a:rPr lang="en-US" dirty="0"/>
              <a:t>3. Add attacker account as owner to any VIN</a:t>
            </a:r>
          </a:p>
          <a:p>
            <a:endParaRPr lang="en-US" dirty="0"/>
          </a:p>
          <a:p>
            <a:r>
              <a:rPr lang="en-US" dirty="0"/>
              <a:t>4. Use attacker account mobile app to send legitimate commands to vehicle – unlock, start etc.</a:t>
            </a:r>
          </a:p>
          <a:p>
            <a:endParaRPr lang="en-US" dirty="0"/>
          </a:p>
          <a:p>
            <a:r>
              <a:rPr lang="en-US" dirty="0"/>
              <a:t>5. Extract user details from owners</a:t>
            </a:r>
          </a:p>
          <a:p>
            <a:endParaRPr lang="en-US" dirty="0"/>
          </a:p>
          <a:p>
            <a:endParaRPr lang="en-US" dirty="0"/>
          </a:p>
          <a:p>
            <a:endParaRPr lang="en-US" dirty="0"/>
          </a:p>
          <a:p>
            <a:endParaRPr lang="en-US" dirty="0"/>
          </a:p>
          <a:p>
            <a:r>
              <a:rPr lang="en-US" dirty="0"/>
              <a:t>https://randomvin.com/</a:t>
            </a:r>
          </a:p>
          <a:p>
            <a:endParaRPr lang="en-US" dirty="0"/>
          </a:p>
          <a:p>
            <a:r>
              <a:rPr lang="en-US" dirty="0"/>
              <a:t>Full steps</a:t>
            </a:r>
          </a:p>
          <a:p>
            <a:endParaRPr lang="en-US" dirty="0"/>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Attack Path (Step-by-Step):</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 a. Attacker registers as a dealer using the public portal.</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Goal: Gain elevated access to the dealer portal.</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 </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Input: Self-registration form requiring basic details (no manual validation by OEM).</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Output: Fake dealer account with backend access.</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Abused Weakness: Improper authentication and authorization checks (Dealer Web Portal).</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 </a:t>
            </a:r>
          </a:p>
          <a:p>
            <a:pPr marL="0" marR="0">
              <a:buNone/>
            </a:pPr>
            <a:endParaRPr lang="en-US" sz="1800" dirty="0">
              <a:effectLst/>
              <a:latin typeface="Aptos" panose="020B0004020202020204" pitchFamily="34" charset="0"/>
              <a:ea typeface="DengXian" panose="02010600030101010101" pitchFamily="2" charset="-122"/>
              <a:cs typeface="Aptos" panose="020B0004020202020204" pitchFamily="34" charset="0"/>
            </a:endParaRP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b. Uses tools (e.g., Burp Suite) to intercept and modify traffic.</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 Goal: Understand API communication between frontend and backend.</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Input: Proxying network traffic to inspect dealer portal and backend API calls. </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Output: Discovery of sensitive endpoints and API structure.</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Abused Weakness: Exposure of dealer-only functionality via client-side JavaScript.</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 </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 </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c. Creates a separate user account and reassigns any VIN or license plate to their own account by sending unauthorized API requests.</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Goal: Bind any target vehicle to attacker’s mobile app account.</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Input: Attacker’s own user account (created via mobile app), target VIN/license plate.</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Output: Vehicle appears in attacker’s app account.</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Abused Weaknesses: Missing authorization validation (Backend API); No rate limiting (Backend API).</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 </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 </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d. Gains full mobile app control over the vehicle via OEM backend.</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Goal: Remotely control the victim’s vehicle (unlock, start, etc.).</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Input: Mobile app commands to the reassigned vehicle. </a:t>
            </a:r>
          </a:p>
          <a:p>
            <a:pPr marL="0" marR="0">
              <a:buNone/>
            </a:pPr>
            <a:r>
              <a:rPr lang="en-US" sz="1800" dirty="0">
                <a:effectLst/>
                <a:latin typeface="Aptos" panose="020B0004020202020204" pitchFamily="34" charset="0"/>
                <a:ea typeface="DengXian" panose="02010600030101010101" pitchFamily="2" charset="-122"/>
                <a:cs typeface="Aptos" panose="020B0004020202020204" pitchFamily="34" charset="0"/>
              </a:rPr>
              <a:t>Output: Remote actions executed on the victim’s vehicle.</a:t>
            </a:r>
          </a:p>
          <a:p>
            <a:pPr marL="0" marR="0"/>
            <a:r>
              <a:rPr lang="en-US" sz="1800" dirty="0">
                <a:effectLst/>
                <a:latin typeface="Aptos" panose="020B0004020202020204" pitchFamily="34" charset="0"/>
                <a:ea typeface="DengXian" panose="02010600030101010101" pitchFamily="2" charset="-122"/>
                <a:cs typeface="Aptos" panose="020B0004020202020204" pitchFamily="34" charset="0"/>
              </a:rPr>
              <a:t>Abused Weaknesses: Persistent unauthorized access (Session Management); Missing authorization validation (Backend API).</a:t>
            </a:r>
          </a:p>
          <a:p>
            <a:endParaRPr lang="en-US" dirty="0"/>
          </a:p>
        </p:txBody>
      </p:sp>
      <p:sp>
        <p:nvSpPr>
          <p:cNvPr id="4" name="Slide Number Placeholder 3">
            <a:extLst>
              <a:ext uri="{FF2B5EF4-FFF2-40B4-BE49-F238E27FC236}">
                <a16:creationId xmlns:a16="http://schemas.microsoft.com/office/drawing/2014/main" id="{7ECC120B-25AA-C84C-183A-06096FB96E09}"/>
              </a:ext>
            </a:extLst>
          </p:cNvPr>
          <p:cNvSpPr>
            <a:spLocks noGrp="1"/>
          </p:cNvSpPr>
          <p:nvPr>
            <p:ph type="sldNum" sz="quarter" idx="5"/>
          </p:nvPr>
        </p:nvSpPr>
        <p:spPr/>
        <p:txBody>
          <a:bodyPr/>
          <a:lstStyle/>
          <a:p>
            <a:fld id="{9502F7FA-3984-4F9D-BF36-30DAB3280DBC}" type="slidenum">
              <a:rPr lang="de-DE" smtClean="0"/>
              <a:t>19</a:t>
            </a:fld>
            <a:endParaRPr lang="de-DE"/>
          </a:p>
        </p:txBody>
      </p:sp>
    </p:spTree>
    <p:extLst>
      <p:ext uri="{BB962C8B-B14F-4D97-AF65-F5344CB8AC3E}">
        <p14:creationId xmlns:p14="http://schemas.microsoft.com/office/powerpoint/2010/main" val="38474549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502F7FA-3984-4F9D-BF36-30DAB3280DBC}" type="slidenum">
              <a:rPr lang="de-DE" smtClean="0"/>
              <a:t>2</a:t>
            </a:fld>
            <a:endParaRPr lang="de-DE"/>
          </a:p>
        </p:txBody>
      </p:sp>
    </p:spTree>
    <p:extLst>
      <p:ext uri="{BB962C8B-B14F-4D97-AF65-F5344CB8AC3E}">
        <p14:creationId xmlns:p14="http://schemas.microsoft.com/office/powerpoint/2010/main" val="16873270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7.5min</a:t>
            </a:r>
          </a:p>
          <a:p>
            <a:endParaRPr lang="en-US" dirty="0"/>
          </a:p>
          <a:p>
            <a:r>
              <a:rPr lang="en-US" dirty="0"/>
              <a:t> (without the owner’s consent)</a:t>
            </a:r>
          </a:p>
          <a:p>
            <a:endParaRPr lang="en-US" dirty="0"/>
          </a:p>
          <a:p>
            <a:pPr marL="0" marR="0" lvl="0" indent="0" algn="l" defTabSz="863995" rtl="0" eaLnBrk="1" fontAlgn="auto" latinLnBrk="0" hangingPunct="1">
              <a:lnSpc>
                <a:spcPct val="100000"/>
              </a:lnSpc>
              <a:spcBef>
                <a:spcPts val="0"/>
              </a:spcBef>
              <a:spcAft>
                <a:spcPts val="0"/>
              </a:spcAft>
              <a:buClrTx/>
              <a:buSzTx/>
              <a:buFontTx/>
              <a:buNone/>
              <a:tabLst/>
              <a:defRPr/>
            </a:pPr>
            <a:r>
              <a:rPr lang="en-US" dirty="0"/>
              <a:t>The original owner would still have access to their vehicle via their mobile app. However, they would not receive any notification that the vehicle was added to another user’s account. There was no interface available for the original owner to see all accounts associated with their vehicle, nor a method to revoke unauthorized access themselves.</a:t>
            </a:r>
          </a:p>
          <a:p>
            <a:endParaRPr lang="en-US" dirty="0"/>
          </a:p>
        </p:txBody>
      </p:sp>
      <p:sp>
        <p:nvSpPr>
          <p:cNvPr id="4" name="Slide Number Placeholder 3"/>
          <p:cNvSpPr>
            <a:spLocks noGrp="1"/>
          </p:cNvSpPr>
          <p:nvPr>
            <p:ph type="sldNum" sz="quarter" idx="5"/>
          </p:nvPr>
        </p:nvSpPr>
        <p:spPr/>
        <p:txBody>
          <a:bodyPr/>
          <a:lstStyle/>
          <a:p>
            <a:fld id="{9502F7FA-3984-4F9D-BF36-30DAB3280DBC}" type="slidenum">
              <a:rPr lang="de-DE" smtClean="0"/>
              <a:t>20</a:t>
            </a:fld>
            <a:endParaRPr lang="de-DE"/>
          </a:p>
        </p:txBody>
      </p:sp>
    </p:spTree>
    <p:extLst>
      <p:ext uri="{BB962C8B-B14F-4D97-AF65-F5344CB8AC3E}">
        <p14:creationId xmlns:p14="http://schemas.microsoft.com/office/powerpoint/2010/main" val="24692587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8.5min</a:t>
            </a:r>
          </a:p>
        </p:txBody>
      </p:sp>
      <p:sp>
        <p:nvSpPr>
          <p:cNvPr id="4" name="Slide Number Placeholder 3"/>
          <p:cNvSpPr>
            <a:spLocks noGrp="1"/>
          </p:cNvSpPr>
          <p:nvPr>
            <p:ph type="sldNum" sz="quarter" idx="5"/>
          </p:nvPr>
        </p:nvSpPr>
        <p:spPr/>
        <p:txBody>
          <a:bodyPr/>
          <a:lstStyle/>
          <a:p>
            <a:fld id="{9502F7FA-3984-4F9D-BF36-30DAB3280DBC}" type="slidenum">
              <a:rPr lang="de-DE" smtClean="0"/>
              <a:t>21</a:t>
            </a:fld>
            <a:endParaRPr lang="de-DE"/>
          </a:p>
        </p:txBody>
      </p:sp>
    </p:spTree>
    <p:extLst>
      <p:ext uri="{BB962C8B-B14F-4D97-AF65-F5344CB8AC3E}">
        <p14:creationId xmlns:p14="http://schemas.microsoft.com/office/powerpoint/2010/main" val="29741845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9min</a:t>
            </a:r>
          </a:p>
        </p:txBody>
      </p:sp>
      <p:sp>
        <p:nvSpPr>
          <p:cNvPr id="4" name="Slide Number Placeholder 3"/>
          <p:cNvSpPr>
            <a:spLocks noGrp="1"/>
          </p:cNvSpPr>
          <p:nvPr>
            <p:ph type="sldNum" sz="quarter" idx="5"/>
          </p:nvPr>
        </p:nvSpPr>
        <p:spPr/>
        <p:txBody>
          <a:bodyPr/>
          <a:lstStyle/>
          <a:p>
            <a:fld id="{9502F7FA-3984-4F9D-BF36-30DAB3280DBC}" type="slidenum">
              <a:rPr lang="de-DE" smtClean="0"/>
              <a:t>22</a:t>
            </a:fld>
            <a:endParaRPr lang="de-DE"/>
          </a:p>
        </p:txBody>
      </p:sp>
    </p:spTree>
    <p:extLst>
      <p:ext uri="{BB962C8B-B14F-4D97-AF65-F5344CB8AC3E}">
        <p14:creationId xmlns:p14="http://schemas.microsoft.com/office/powerpoint/2010/main" val="4120192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9502F7FA-3984-4F9D-BF36-30DAB3280DBC}" type="slidenum">
              <a:rPr lang="de-DE" smtClean="0"/>
              <a:t>23</a:t>
            </a:fld>
            <a:endParaRPr lang="de-DE"/>
          </a:p>
        </p:txBody>
      </p:sp>
    </p:spTree>
    <p:extLst>
      <p:ext uri="{BB962C8B-B14F-4D97-AF65-F5344CB8AC3E}">
        <p14:creationId xmlns:p14="http://schemas.microsoft.com/office/powerpoint/2010/main" val="14347922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9502F7FA-3984-4F9D-BF36-30DAB3280DBC}" type="slidenum">
              <a:rPr lang="de-DE" smtClean="0"/>
              <a:t>3</a:t>
            </a:fld>
            <a:endParaRPr lang="de-DE"/>
          </a:p>
        </p:txBody>
      </p:sp>
    </p:spTree>
    <p:extLst>
      <p:ext uri="{BB962C8B-B14F-4D97-AF65-F5344CB8AC3E}">
        <p14:creationId xmlns:p14="http://schemas.microsoft.com/office/powerpoint/2010/main" val="16853775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5min</a:t>
            </a:r>
          </a:p>
        </p:txBody>
      </p:sp>
      <p:sp>
        <p:nvSpPr>
          <p:cNvPr id="4" name="Slide Number Placeholder 3"/>
          <p:cNvSpPr>
            <a:spLocks noGrp="1"/>
          </p:cNvSpPr>
          <p:nvPr>
            <p:ph type="sldNum" sz="quarter" idx="5"/>
          </p:nvPr>
        </p:nvSpPr>
        <p:spPr/>
        <p:txBody>
          <a:bodyPr/>
          <a:lstStyle/>
          <a:p>
            <a:fld id="{9502F7FA-3984-4F9D-BF36-30DAB3280DBC}" type="slidenum">
              <a:rPr lang="de-DE" smtClean="0"/>
              <a:t>4</a:t>
            </a:fld>
            <a:endParaRPr lang="de-DE"/>
          </a:p>
        </p:txBody>
      </p:sp>
    </p:spTree>
    <p:extLst>
      <p:ext uri="{BB962C8B-B14F-4D97-AF65-F5344CB8AC3E}">
        <p14:creationId xmlns:p14="http://schemas.microsoft.com/office/powerpoint/2010/main" val="19918662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BB83A1-3CED-D15B-BB20-358DC5DB8F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D0104D-A4EC-C8CD-8EF3-B34CAB1EC4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9096F2-5520-499C-009C-5EEBA1EA5328}"/>
              </a:ext>
            </a:extLst>
          </p:cNvPr>
          <p:cNvSpPr>
            <a:spLocks noGrp="1"/>
          </p:cNvSpPr>
          <p:nvPr>
            <p:ph type="body" idx="1"/>
          </p:nvPr>
        </p:nvSpPr>
        <p:spPr/>
        <p:txBody>
          <a:bodyPr/>
          <a:lstStyle/>
          <a:p>
            <a:r>
              <a:rPr lang="en-US" dirty="0"/>
              <a:t>2.5min</a:t>
            </a:r>
          </a:p>
        </p:txBody>
      </p:sp>
      <p:sp>
        <p:nvSpPr>
          <p:cNvPr id="4" name="Slide Number Placeholder 3">
            <a:extLst>
              <a:ext uri="{FF2B5EF4-FFF2-40B4-BE49-F238E27FC236}">
                <a16:creationId xmlns:a16="http://schemas.microsoft.com/office/drawing/2014/main" id="{095A249A-5267-330D-3FBE-43BBB6C372C8}"/>
              </a:ext>
            </a:extLst>
          </p:cNvPr>
          <p:cNvSpPr>
            <a:spLocks noGrp="1"/>
          </p:cNvSpPr>
          <p:nvPr>
            <p:ph type="sldNum" sz="quarter" idx="5"/>
          </p:nvPr>
        </p:nvSpPr>
        <p:spPr/>
        <p:txBody>
          <a:bodyPr/>
          <a:lstStyle/>
          <a:p>
            <a:fld id="{9502F7FA-3984-4F9D-BF36-30DAB3280DBC}" type="slidenum">
              <a:rPr lang="de-DE" smtClean="0"/>
              <a:t>5</a:t>
            </a:fld>
            <a:endParaRPr lang="de-DE"/>
          </a:p>
        </p:txBody>
      </p:sp>
    </p:spTree>
    <p:extLst>
      <p:ext uri="{BB962C8B-B14F-4D97-AF65-F5344CB8AC3E}">
        <p14:creationId xmlns:p14="http://schemas.microsoft.com/office/powerpoint/2010/main" val="17695973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2B372-D83F-256C-54E8-323B571746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FB031C-7DCF-DC40-B63B-76005D460D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0D6E14-15F8-AA1E-AC15-752E60C45F1A}"/>
              </a:ext>
            </a:extLst>
          </p:cNvPr>
          <p:cNvSpPr>
            <a:spLocks noGrp="1"/>
          </p:cNvSpPr>
          <p:nvPr>
            <p:ph type="body" idx="1"/>
          </p:nvPr>
        </p:nvSpPr>
        <p:spPr/>
        <p:txBody>
          <a:bodyPr/>
          <a:lstStyle/>
          <a:p>
            <a:r>
              <a:rPr lang="en-US" dirty="0"/>
              <a:t>3min</a:t>
            </a:r>
          </a:p>
          <a:p>
            <a:endParaRPr lang="en-US" dirty="0"/>
          </a:p>
          <a:p>
            <a:r>
              <a:rPr lang="en-US" dirty="0"/>
              <a:t>https://documents.vicone.com/reports/shifting-gears-2025-automotive-cybersecurity-report.pdf</a:t>
            </a:r>
          </a:p>
          <a:p>
            <a:pPr marL="0" marR="0" lvl="0" indent="0" algn="l" defTabSz="863995" rtl="0" eaLnBrk="1" fontAlgn="auto" latinLnBrk="0" hangingPunct="1">
              <a:lnSpc>
                <a:spcPct val="100000"/>
              </a:lnSpc>
              <a:spcBef>
                <a:spcPts val="0"/>
              </a:spcBef>
              <a:spcAft>
                <a:spcPts val="0"/>
              </a:spcAft>
              <a:buClrTx/>
              <a:buSzTx/>
              <a:buFontTx/>
              <a:buNone/>
              <a:tabLst/>
              <a:defRPr/>
            </a:pPr>
            <a:r>
              <a:rPr lang="en-US" dirty="0"/>
              <a:t>Total of 215 incidents</a:t>
            </a:r>
          </a:p>
          <a:p>
            <a:endParaRPr lang="en-US" dirty="0"/>
          </a:p>
          <a:p>
            <a:r>
              <a:rPr lang="en-US" dirty="0"/>
              <a:t>IT systems	28.7</a:t>
            </a:r>
          </a:p>
          <a:p>
            <a:r>
              <a:rPr lang="en-US" dirty="0"/>
              <a:t>IVI systems	16.7</a:t>
            </a:r>
          </a:p>
          <a:p>
            <a:r>
              <a:rPr lang="en-US" dirty="0"/>
              <a:t>ADAS	14.45</a:t>
            </a:r>
          </a:p>
          <a:p>
            <a:r>
              <a:rPr lang="en-US" dirty="0"/>
              <a:t>EV charging	12.55</a:t>
            </a:r>
          </a:p>
          <a:p>
            <a:r>
              <a:rPr lang="en-US" dirty="0"/>
              <a:t>BMS	7.8</a:t>
            </a:r>
          </a:p>
          <a:p>
            <a:r>
              <a:rPr lang="en-US" dirty="0"/>
              <a:t>ECU	7.35</a:t>
            </a:r>
          </a:p>
          <a:p>
            <a:r>
              <a:rPr lang="en-US" dirty="0"/>
              <a:t>Keyless entry	5.6</a:t>
            </a:r>
          </a:p>
          <a:p>
            <a:r>
              <a:rPr lang="en-US" dirty="0"/>
              <a:t>Diagnostics	2.75</a:t>
            </a:r>
          </a:p>
          <a:p>
            <a:r>
              <a:rPr lang="en-US" dirty="0"/>
              <a:t>Fleet management	1.4</a:t>
            </a:r>
          </a:p>
          <a:p>
            <a:r>
              <a:rPr lang="en-US" dirty="0"/>
              <a:t>Mobile/Vehicle apps	1.35</a:t>
            </a:r>
          </a:p>
          <a:p>
            <a:r>
              <a:rPr lang="en-US" dirty="0"/>
              <a:t>Other	1.35</a:t>
            </a:r>
          </a:p>
        </p:txBody>
      </p:sp>
      <p:sp>
        <p:nvSpPr>
          <p:cNvPr id="4" name="Slide Number Placeholder 3">
            <a:extLst>
              <a:ext uri="{FF2B5EF4-FFF2-40B4-BE49-F238E27FC236}">
                <a16:creationId xmlns:a16="http://schemas.microsoft.com/office/drawing/2014/main" id="{2C1504A9-6921-7FC2-A996-59701CA651AA}"/>
              </a:ext>
            </a:extLst>
          </p:cNvPr>
          <p:cNvSpPr>
            <a:spLocks noGrp="1"/>
          </p:cNvSpPr>
          <p:nvPr>
            <p:ph type="sldNum" sz="quarter" idx="5"/>
          </p:nvPr>
        </p:nvSpPr>
        <p:spPr/>
        <p:txBody>
          <a:bodyPr/>
          <a:lstStyle/>
          <a:p>
            <a:fld id="{9502F7FA-3984-4F9D-BF36-30DAB3280DBC}" type="slidenum">
              <a:rPr lang="de-DE" smtClean="0"/>
              <a:t>6</a:t>
            </a:fld>
            <a:endParaRPr lang="de-DE"/>
          </a:p>
        </p:txBody>
      </p:sp>
    </p:spTree>
    <p:extLst>
      <p:ext uri="{BB962C8B-B14F-4D97-AF65-F5344CB8AC3E}">
        <p14:creationId xmlns:p14="http://schemas.microsoft.com/office/powerpoint/2010/main" val="21870944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5min</a:t>
            </a:r>
          </a:p>
          <a:p>
            <a:endParaRPr lang="en-US" dirty="0"/>
          </a:p>
          <a:p>
            <a:r>
              <a:rPr lang="en-US" dirty="0"/>
              <a:t>https://documents.vicone.com/reports/shifting-gears-2025-automotive-cybersecurity-report.pdf</a:t>
            </a:r>
          </a:p>
          <a:p>
            <a:endParaRPr lang="en-US" dirty="0"/>
          </a:p>
        </p:txBody>
      </p:sp>
      <p:sp>
        <p:nvSpPr>
          <p:cNvPr id="4" name="Slide Number Placeholder 3"/>
          <p:cNvSpPr>
            <a:spLocks noGrp="1"/>
          </p:cNvSpPr>
          <p:nvPr>
            <p:ph type="sldNum" sz="quarter" idx="5"/>
          </p:nvPr>
        </p:nvSpPr>
        <p:spPr/>
        <p:txBody>
          <a:bodyPr/>
          <a:lstStyle/>
          <a:p>
            <a:fld id="{9502F7FA-3984-4F9D-BF36-30DAB3280DBC}" type="slidenum">
              <a:rPr lang="de-DE" smtClean="0"/>
              <a:t>7</a:t>
            </a:fld>
            <a:endParaRPr lang="de-DE"/>
          </a:p>
        </p:txBody>
      </p:sp>
    </p:spTree>
    <p:extLst>
      <p:ext uri="{BB962C8B-B14F-4D97-AF65-F5344CB8AC3E}">
        <p14:creationId xmlns:p14="http://schemas.microsoft.com/office/powerpoint/2010/main" val="15099081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u="none" strike="noStrike" baseline="0" dirty="0">
                <a:solidFill>
                  <a:srgbClr val="E7EDF6"/>
                </a:solidFill>
                <a:latin typeface="Open Sans" panose="020B0606030504020204" pitchFamily="34" charset="0"/>
              </a:rPr>
              <a:t>4min</a:t>
            </a:r>
          </a:p>
          <a:p>
            <a:endParaRPr lang="en-US" sz="1800" b="1" i="0" u="none" strike="noStrike" baseline="0" dirty="0">
              <a:solidFill>
                <a:srgbClr val="E7EDF6"/>
              </a:solidFill>
              <a:latin typeface="Open Sans" panose="020B0606030504020204" pitchFamily="34" charset="0"/>
            </a:endParaRPr>
          </a:p>
          <a:p>
            <a:r>
              <a:rPr lang="en-US" sz="1800" b="0" i="0" u="none" strike="noStrike" baseline="0" dirty="0">
                <a:solidFill>
                  <a:srgbClr val="E7EDF6"/>
                </a:solidFill>
                <a:latin typeface="Open Sans" panose="020B0606030504020204" pitchFamily="34" charset="0"/>
              </a:rPr>
              <a:t>shifting-gears-2025-automotive-cybersecurity-report.pdf</a:t>
            </a:r>
          </a:p>
          <a:p>
            <a:endParaRPr lang="en-US" sz="1800" b="1" i="0" u="none" strike="noStrike" baseline="0" dirty="0">
              <a:solidFill>
                <a:srgbClr val="E7EDF6"/>
              </a:solidFill>
              <a:latin typeface="Open Sans" panose="020B0606030504020204" pitchFamily="34" charset="0"/>
            </a:endParaRPr>
          </a:p>
          <a:p>
            <a:r>
              <a:rPr lang="en-US" sz="1800" b="1" i="0" u="none" strike="noStrike" baseline="0" dirty="0">
                <a:solidFill>
                  <a:srgbClr val="E7EDF6"/>
                </a:solidFill>
                <a:latin typeface="Open Sans" panose="020B0606030504020204" pitchFamily="34" charset="0"/>
              </a:rPr>
              <a:t>Cost </a:t>
            </a:r>
            <a:r>
              <a:rPr lang="en-US" sz="1800" b="0" i="0" u="none" strike="noStrike" baseline="0" dirty="0">
                <a:solidFill>
                  <a:srgbClr val="E7EDF6"/>
                </a:solidFill>
                <a:latin typeface="Open Sans" panose="020B0606030504020204" pitchFamily="34" charset="0"/>
              </a:rPr>
              <a:t>		</a:t>
            </a:r>
            <a:r>
              <a:rPr lang="en-US" sz="1800" b="1" i="0" u="none" strike="noStrike" baseline="0" dirty="0">
                <a:solidFill>
                  <a:srgbClr val="E7EDF6"/>
                </a:solidFill>
                <a:latin typeface="Open Sans" panose="020B0606030504020204" pitchFamily="34" charset="0"/>
              </a:rPr>
              <a:t>2022 </a:t>
            </a:r>
            <a:r>
              <a:rPr lang="en-US" sz="1800" b="0" i="0" u="none" strike="noStrike" baseline="0" dirty="0">
                <a:solidFill>
                  <a:srgbClr val="E7EDF6"/>
                </a:solidFill>
                <a:latin typeface="Open Sans" panose="020B0606030504020204" pitchFamily="34" charset="0"/>
              </a:rPr>
              <a:t>	</a:t>
            </a:r>
            <a:r>
              <a:rPr lang="en-US" sz="1800" b="1" i="0" u="none" strike="noStrike" baseline="0" dirty="0">
                <a:solidFill>
                  <a:srgbClr val="E7EDF6"/>
                </a:solidFill>
                <a:latin typeface="Open Sans" panose="020B0606030504020204" pitchFamily="34" charset="0"/>
              </a:rPr>
              <a:t>2023 </a:t>
            </a:r>
            <a:r>
              <a:rPr lang="en-US" sz="1800" b="0" i="0" u="none" strike="noStrike" baseline="0" dirty="0">
                <a:solidFill>
                  <a:srgbClr val="E7EDF6"/>
                </a:solidFill>
                <a:latin typeface="Open Sans" panose="020B0606030504020204" pitchFamily="34" charset="0"/>
              </a:rPr>
              <a:t>	</a:t>
            </a:r>
            <a:r>
              <a:rPr lang="en-US" sz="1800" b="1" i="0" u="none" strike="noStrike" baseline="0" dirty="0">
                <a:solidFill>
                  <a:srgbClr val="E7EDF6"/>
                </a:solidFill>
                <a:latin typeface="Open Sans" panose="020B0606030504020204" pitchFamily="34" charset="0"/>
              </a:rPr>
              <a:t>2024 </a:t>
            </a:r>
            <a:r>
              <a:rPr lang="en-US" sz="1800" b="0" i="0" u="none" strike="noStrike" baseline="0" dirty="0">
                <a:solidFill>
                  <a:srgbClr val="E7EDF6"/>
                </a:solidFill>
                <a:latin typeface="Open Sans" panose="020B0606030504020204" pitchFamily="34" charset="0"/>
              </a:rPr>
              <a:t>	</a:t>
            </a:r>
          </a:p>
          <a:p>
            <a:r>
              <a:rPr lang="en-US" sz="1800" b="0" i="0" u="none" strike="noStrike" baseline="0" dirty="0">
                <a:solidFill>
                  <a:srgbClr val="1A202B"/>
                </a:solidFill>
                <a:latin typeface="Open Sans" panose="020B0606030504020204" pitchFamily="34" charset="0"/>
              </a:rPr>
              <a:t>Data leakage 		$4.0M 	$9.7B 	</a:t>
            </a:r>
            <a:r>
              <a:rPr lang="en-US" sz="1800" b="1" i="0" u="none" strike="noStrike" baseline="0" dirty="0">
                <a:solidFill>
                  <a:srgbClr val="1A202B"/>
                </a:solidFill>
                <a:latin typeface="Open Sans" panose="020B0606030504020204" pitchFamily="34" charset="0"/>
              </a:rPr>
              <a:t>$20.0B </a:t>
            </a:r>
            <a:r>
              <a:rPr lang="en-US" sz="1800" b="0" i="0" u="none" strike="noStrike" baseline="0" dirty="0">
                <a:solidFill>
                  <a:srgbClr val="1A202B"/>
                </a:solidFill>
                <a:latin typeface="Open Sans" panose="020B0606030504020204" pitchFamily="34" charset="0"/>
              </a:rPr>
              <a:t>	</a:t>
            </a:r>
          </a:p>
          <a:p>
            <a:r>
              <a:rPr lang="en-US" sz="1800" b="0" i="0" u="none" strike="noStrike" baseline="0" dirty="0">
                <a:solidFill>
                  <a:srgbClr val="1A202B"/>
                </a:solidFill>
                <a:latin typeface="Open Sans" panose="020B0606030504020204" pitchFamily="34" charset="0"/>
              </a:rPr>
              <a:t>System downtime 	$802.7M 	$2.5B 	</a:t>
            </a:r>
            <a:r>
              <a:rPr lang="en-US" sz="1800" b="1" i="0" u="none" strike="noStrike" baseline="0" dirty="0">
                <a:solidFill>
                  <a:srgbClr val="1A202B"/>
                </a:solidFill>
                <a:latin typeface="Open Sans" panose="020B0606030504020204" pitchFamily="34" charset="0"/>
              </a:rPr>
              <a:t>$1.9B </a:t>
            </a:r>
            <a:r>
              <a:rPr lang="en-US" sz="1800" b="0" i="0" u="none" strike="noStrike" baseline="0" dirty="0">
                <a:solidFill>
                  <a:srgbClr val="1A202B"/>
                </a:solidFill>
                <a:latin typeface="Open Sans" panose="020B0606030504020204" pitchFamily="34" charset="0"/>
              </a:rPr>
              <a:t>	</a:t>
            </a:r>
          </a:p>
          <a:p>
            <a:r>
              <a:rPr lang="de-DE" sz="1800" b="0" i="0" u="none" strike="noStrike" baseline="0" dirty="0">
                <a:solidFill>
                  <a:srgbClr val="1A202B"/>
                </a:solidFill>
                <a:latin typeface="Open Sans" panose="020B0606030504020204" pitchFamily="34" charset="0"/>
              </a:rPr>
              <a:t>Ransomware </a:t>
            </a:r>
            <a:r>
              <a:rPr lang="de-DE" sz="1800" b="0" i="0" u="none" strike="noStrike" baseline="0" dirty="0" err="1">
                <a:solidFill>
                  <a:srgbClr val="1A202B"/>
                </a:solidFill>
                <a:latin typeface="Open Sans" panose="020B0606030504020204" pitchFamily="34" charset="0"/>
              </a:rPr>
              <a:t>damage</a:t>
            </a:r>
            <a:r>
              <a:rPr lang="de-DE" sz="1800" b="0" i="0" u="none" strike="noStrike" baseline="0" dirty="0">
                <a:solidFill>
                  <a:srgbClr val="1A202B"/>
                </a:solidFill>
                <a:latin typeface="Open Sans" panose="020B0606030504020204" pitchFamily="34" charset="0"/>
              </a:rPr>
              <a:t> 	$242.8M 	$523.6M 	</a:t>
            </a:r>
            <a:r>
              <a:rPr lang="de-DE" sz="1800" b="1" i="0" u="none" strike="noStrike" baseline="0" dirty="0">
                <a:solidFill>
                  <a:srgbClr val="1A202B"/>
                </a:solidFill>
                <a:latin typeface="Open Sans" panose="020B0606030504020204" pitchFamily="34" charset="0"/>
              </a:rPr>
              <a:t>$538.2M </a:t>
            </a:r>
            <a:r>
              <a:rPr lang="de-DE" sz="1800" b="0" i="0" u="none" strike="noStrike" baseline="0" dirty="0">
                <a:solidFill>
                  <a:srgbClr val="1A202B"/>
                </a:solidFill>
                <a:latin typeface="Open Sans" panose="020B0606030504020204" pitchFamily="34" charset="0"/>
              </a:rPr>
              <a:t>	</a:t>
            </a:r>
          </a:p>
          <a:p>
            <a:r>
              <a:rPr lang="en-US" sz="1800" b="1" i="0" u="none" strike="noStrike" baseline="0" dirty="0">
                <a:solidFill>
                  <a:srgbClr val="1A202B"/>
                </a:solidFill>
                <a:latin typeface="Open Sans" panose="020B0606030504020204" pitchFamily="34" charset="0"/>
              </a:rPr>
              <a:t>Total </a:t>
            </a:r>
            <a:r>
              <a:rPr lang="en-US" sz="1800" b="0" i="0" u="none" strike="noStrike" baseline="0" dirty="0">
                <a:solidFill>
                  <a:srgbClr val="1A202B"/>
                </a:solidFill>
                <a:latin typeface="Open Sans" panose="020B0606030504020204" pitchFamily="34" charset="0"/>
              </a:rPr>
              <a:t>		</a:t>
            </a:r>
            <a:r>
              <a:rPr lang="en-US" sz="1800" b="1" i="0" u="none" strike="noStrike" baseline="0" dirty="0">
                <a:solidFill>
                  <a:srgbClr val="1A202B"/>
                </a:solidFill>
                <a:latin typeface="Open Sans" panose="020B0606030504020204" pitchFamily="34" charset="0"/>
              </a:rPr>
              <a:t>$1.0B </a:t>
            </a:r>
            <a:r>
              <a:rPr lang="en-US" sz="1800" b="0" i="0" u="none" strike="noStrike" baseline="0" dirty="0">
                <a:solidFill>
                  <a:srgbClr val="1A202B"/>
                </a:solidFill>
                <a:latin typeface="Open Sans" panose="020B0606030504020204" pitchFamily="34" charset="0"/>
              </a:rPr>
              <a:t>	</a:t>
            </a:r>
            <a:r>
              <a:rPr lang="en-US" sz="1800" b="1" i="0" u="none" strike="noStrike" baseline="0" dirty="0">
                <a:solidFill>
                  <a:srgbClr val="1A202B"/>
                </a:solidFill>
                <a:latin typeface="Open Sans" panose="020B0606030504020204" pitchFamily="34" charset="0"/>
              </a:rPr>
              <a:t>$12.8B </a:t>
            </a:r>
            <a:r>
              <a:rPr lang="en-US" sz="1800" b="0" i="0" u="none" strike="noStrike" baseline="0" dirty="0">
                <a:solidFill>
                  <a:srgbClr val="1A202B"/>
                </a:solidFill>
                <a:latin typeface="Open Sans" panose="020B0606030504020204" pitchFamily="34" charset="0"/>
              </a:rPr>
              <a:t>	</a:t>
            </a:r>
            <a:r>
              <a:rPr lang="en-US" sz="1800" b="1" i="0" u="none" strike="noStrike" baseline="0" dirty="0">
                <a:solidFill>
                  <a:srgbClr val="1A202B"/>
                </a:solidFill>
                <a:latin typeface="Open Sans" panose="020B0606030504020204" pitchFamily="34" charset="0"/>
              </a:rPr>
              <a:t>$22.5B </a:t>
            </a:r>
            <a:r>
              <a:rPr lang="en-US" sz="1800" b="0" i="0" u="none" strike="noStrike" baseline="0" dirty="0">
                <a:solidFill>
                  <a:srgbClr val="1A202B"/>
                </a:solidFill>
                <a:latin typeface="Open Sans" panose="020B0606030504020204" pitchFamily="34" charset="0"/>
              </a:rPr>
              <a:t>	</a:t>
            </a:r>
          </a:p>
          <a:p>
            <a:endParaRPr lang="en-US" sz="1800" b="0" i="0" u="none" strike="noStrike" baseline="0" dirty="0">
              <a:solidFill>
                <a:srgbClr val="1A202B"/>
              </a:solidFill>
              <a:latin typeface="Open Sans" panose="020B0606030504020204" pitchFamily="34" charset="0"/>
            </a:endParaRPr>
          </a:p>
          <a:p>
            <a:r>
              <a:rPr lang="en-US" sz="1800" b="0" i="0" u="none" strike="noStrike" baseline="0" dirty="0">
                <a:solidFill>
                  <a:srgbClr val="1A202B"/>
                </a:solidFill>
                <a:latin typeface="Open Sans" panose="020B0606030504020204" pitchFamily="34" charset="0"/>
              </a:rPr>
              <a:t>Sizes of circles 0.25x (0.25 = 1.0B)</a:t>
            </a:r>
          </a:p>
          <a:p>
            <a:endParaRPr lang="en-US" sz="1800" b="0" i="0" u="none" strike="noStrike" baseline="0" dirty="0">
              <a:solidFill>
                <a:srgbClr val="1A202B"/>
              </a:solidFill>
              <a:latin typeface="Open Sans" panose="020B0606030504020204" pitchFamily="34" charset="0"/>
            </a:endParaRPr>
          </a:p>
          <a:p>
            <a:endParaRPr lang="en-US" sz="1800" b="0" i="0" u="none" strike="noStrike" baseline="0" dirty="0">
              <a:solidFill>
                <a:srgbClr val="1A202B"/>
              </a:solidFill>
              <a:latin typeface="Open Sans" panose="020B0606030504020204" pitchFamily="34" charset="0"/>
            </a:endParaRPr>
          </a:p>
          <a:p>
            <a:endParaRPr lang="en-US" sz="1800" b="0" i="0" u="none" strike="noStrike" baseline="0" dirty="0">
              <a:solidFill>
                <a:srgbClr val="1A202B"/>
              </a:solidFill>
              <a:latin typeface="Open Sans" panose="020B0606030504020204" pitchFamily="34" charset="0"/>
            </a:endParaRPr>
          </a:p>
          <a:p>
            <a:endParaRPr lang="en-US" dirty="0"/>
          </a:p>
        </p:txBody>
      </p:sp>
      <p:sp>
        <p:nvSpPr>
          <p:cNvPr id="4" name="Slide Number Placeholder 3"/>
          <p:cNvSpPr>
            <a:spLocks noGrp="1"/>
          </p:cNvSpPr>
          <p:nvPr>
            <p:ph type="sldNum" sz="quarter" idx="5"/>
          </p:nvPr>
        </p:nvSpPr>
        <p:spPr/>
        <p:txBody>
          <a:bodyPr/>
          <a:lstStyle/>
          <a:p>
            <a:fld id="{9502F7FA-3984-4F9D-BF36-30DAB3280DBC}" type="slidenum">
              <a:rPr lang="de-DE" smtClean="0"/>
              <a:t>8</a:t>
            </a:fld>
            <a:endParaRPr lang="de-DE"/>
          </a:p>
        </p:txBody>
      </p:sp>
    </p:spTree>
    <p:extLst>
      <p:ext uri="{BB962C8B-B14F-4D97-AF65-F5344CB8AC3E}">
        <p14:creationId xmlns:p14="http://schemas.microsoft.com/office/powerpoint/2010/main" val="35398360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5min</a:t>
            </a:r>
          </a:p>
        </p:txBody>
      </p:sp>
      <p:sp>
        <p:nvSpPr>
          <p:cNvPr id="4" name="Slide Number Placeholder 3"/>
          <p:cNvSpPr>
            <a:spLocks noGrp="1"/>
          </p:cNvSpPr>
          <p:nvPr>
            <p:ph type="sldNum" sz="quarter" idx="5"/>
          </p:nvPr>
        </p:nvSpPr>
        <p:spPr/>
        <p:txBody>
          <a:bodyPr/>
          <a:lstStyle/>
          <a:p>
            <a:fld id="{9502F7FA-3984-4F9D-BF36-30DAB3280DBC}" type="slidenum">
              <a:rPr lang="de-DE" smtClean="0"/>
              <a:t>9</a:t>
            </a:fld>
            <a:endParaRPr lang="de-DE"/>
          </a:p>
        </p:txBody>
      </p:sp>
    </p:spTree>
    <p:extLst>
      <p:ext uri="{BB962C8B-B14F-4D97-AF65-F5344CB8AC3E}">
        <p14:creationId xmlns:p14="http://schemas.microsoft.com/office/powerpoint/2010/main" val="29021145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8.sv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tx1"/>
        </a:solidFill>
        <a:effectLst/>
      </p:bgPr>
    </p:bg>
    <p:spTree>
      <p:nvGrpSpPr>
        <p:cNvPr id="1" name=""/>
        <p:cNvGrpSpPr/>
        <p:nvPr/>
      </p:nvGrpSpPr>
      <p:grpSpPr>
        <a:xfrm>
          <a:off x="0" y="0"/>
          <a:ext cx="0" cy="0"/>
          <a:chOff x="0" y="0"/>
          <a:chExt cx="0" cy="0"/>
        </a:xfrm>
      </p:grpSpPr>
      <p:pic>
        <p:nvPicPr>
          <p:cNvPr id="19" name="Bildplatzhalter 48">
            <a:extLst>
              <a:ext uri="{FF2B5EF4-FFF2-40B4-BE49-F238E27FC236}">
                <a16:creationId xmlns:a16="http://schemas.microsoft.com/office/drawing/2014/main" id="{6B601E17-8A59-4A30-A3C9-0755A73AA802}"/>
              </a:ext>
            </a:extLst>
          </p:cNvPr>
          <p:cNvPicPr>
            <a:picLocks noChangeAspect="1"/>
          </p:cNvPicPr>
          <p:nvPr userDrawn="1"/>
        </p:nvPicPr>
        <p:blipFill>
          <a:blip r:embed="rId2">
            <a:extLst>
              <a:ext uri="{28A0092B-C50C-407E-A947-70E740481C1C}">
                <a14:useLocalDpi xmlns:a14="http://schemas.microsoft.com/office/drawing/2010/main" val="0"/>
              </a:ext>
            </a:extLst>
          </a:blip>
          <a:srcRect l="118" r="118"/>
          <a:stretch>
            <a:fillRect/>
          </a:stretch>
        </p:blipFill>
        <p:spPr>
          <a:xfrm>
            <a:off x="-396" y="-273"/>
            <a:ext cx="11520884" cy="6480448"/>
          </a:xfrm>
          <a:prstGeom prst="rect">
            <a:avLst/>
          </a:prstGeom>
        </p:spPr>
      </p:pic>
      <p:pic>
        <p:nvPicPr>
          <p:cNvPr id="20" name="IAV_Logo">
            <a:extLst>
              <a:ext uri="{FF2B5EF4-FFF2-40B4-BE49-F238E27FC236}">
                <a16:creationId xmlns:a16="http://schemas.microsoft.com/office/drawing/2014/main" id="{50DAB219-8AD2-42BC-9BBF-87F7082EE351}"/>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9048337" y="4824263"/>
            <a:ext cx="2148511" cy="1188000"/>
          </a:xfrm>
          <a:prstGeom prst="rect">
            <a:avLst/>
          </a:prstGeom>
        </p:spPr>
      </p:pic>
      <p:sp>
        <p:nvSpPr>
          <p:cNvPr id="2" name="Titel 1">
            <a:extLst>
              <a:ext uri="{FF2B5EF4-FFF2-40B4-BE49-F238E27FC236}">
                <a16:creationId xmlns:a16="http://schemas.microsoft.com/office/drawing/2014/main" id="{56076F01-17EC-4724-B8CD-18FD44ECA277}"/>
              </a:ext>
            </a:extLst>
          </p:cNvPr>
          <p:cNvSpPr>
            <a:spLocks noGrp="1"/>
          </p:cNvSpPr>
          <p:nvPr>
            <p:ph type="title" hasCustomPrompt="1"/>
          </p:nvPr>
        </p:nvSpPr>
        <p:spPr bwMode="gray">
          <a:xfrm>
            <a:off x="539750" y="3376402"/>
            <a:ext cx="8280000" cy="403745"/>
          </a:xfrm>
        </p:spPr>
        <p:txBody>
          <a:bodyPr anchor="b">
            <a:spAutoFit/>
          </a:bodyPr>
          <a:lstStyle>
            <a:lvl1pPr>
              <a:lnSpc>
                <a:spcPct val="100000"/>
              </a:lnSpc>
              <a:defRPr sz="2600">
                <a:solidFill>
                  <a:schemeClr val="accent1"/>
                </a:solidFill>
              </a:defRPr>
            </a:lvl1pPr>
          </a:lstStyle>
          <a:p>
            <a:r>
              <a:rPr lang="en-US" dirty="0"/>
              <a:t>Insert Presentation Title</a:t>
            </a:r>
          </a:p>
        </p:txBody>
      </p:sp>
      <p:sp>
        <p:nvSpPr>
          <p:cNvPr id="21" name="Fußzeilenplatzhalter 3">
            <a:extLst>
              <a:ext uri="{FF2B5EF4-FFF2-40B4-BE49-F238E27FC236}">
                <a16:creationId xmlns:a16="http://schemas.microsoft.com/office/drawing/2014/main" id="{67ECDBC6-A0EC-4C5B-9847-67069DDD4A29}"/>
              </a:ext>
            </a:extLst>
          </p:cNvPr>
          <p:cNvSpPr>
            <a:spLocks noGrp="1"/>
          </p:cNvSpPr>
          <p:nvPr>
            <p:ph type="ftr" sz="quarter" idx="3"/>
          </p:nvPr>
        </p:nvSpPr>
        <p:spPr bwMode="gray">
          <a:xfrm>
            <a:off x="647676" y="6516432"/>
            <a:ext cx="288000" cy="36000"/>
          </a:xfrm>
          <a:prstGeom prst="rect">
            <a:avLst/>
          </a:prstGeom>
        </p:spPr>
        <p:txBody>
          <a:bodyPr vert="horz" lIns="0" tIns="0" rIns="0" bIns="0" rtlCol="0" anchor="ctr"/>
          <a:lstStyle>
            <a:lvl1pPr algn="l">
              <a:defRPr sz="100">
                <a:solidFill>
                  <a:srgbClr val="E6E6E6"/>
                </a:solidFill>
              </a:defRPr>
            </a:lvl1pPr>
          </a:lstStyle>
          <a:p>
            <a:r>
              <a:rPr lang="en-US"/>
              <a:t>IAV  MM/JJJJ  Abteilungskürzel  Namenskürzel  Status: Entwurf, vertraulich</a:t>
            </a:r>
            <a:endParaRPr lang="en-US" dirty="0"/>
          </a:p>
        </p:txBody>
      </p:sp>
      <p:sp>
        <p:nvSpPr>
          <p:cNvPr id="22" name="Foliennummernplatzhalter 4">
            <a:extLst>
              <a:ext uri="{FF2B5EF4-FFF2-40B4-BE49-F238E27FC236}">
                <a16:creationId xmlns:a16="http://schemas.microsoft.com/office/drawing/2014/main" id="{E75DEFE7-5879-4104-847F-0952E148F47D}"/>
              </a:ext>
            </a:extLst>
          </p:cNvPr>
          <p:cNvSpPr>
            <a:spLocks noGrp="1"/>
          </p:cNvSpPr>
          <p:nvPr>
            <p:ph type="sldNum" sz="quarter" idx="4"/>
          </p:nvPr>
        </p:nvSpPr>
        <p:spPr bwMode="gray">
          <a:xfrm>
            <a:off x="539664" y="6516455"/>
            <a:ext cx="72008" cy="36000"/>
          </a:xfrm>
          <a:prstGeom prst="rect">
            <a:avLst/>
          </a:prstGeom>
        </p:spPr>
        <p:txBody>
          <a:bodyPr vert="horz" lIns="0" tIns="0" rIns="0" bIns="0" rtlCol="0" anchor="ctr"/>
          <a:lstStyle>
            <a:lvl1pPr algn="l">
              <a:defRPr sz="100">
                <a:solidFill>
                  <a:srgbClr val="E6E6E6"/>
                </a:solidFill>
              </a:defRPr>
            </a:lvl1pPr>
          </a:lstStyle>
          <a:p>
            <a:fld id="{C651C7C4-31E4-E340-822E-DEA0EA75A835}" type="slidenum">
              <a:rPr lang="en-US" smtClean="0"/>
              <a:pPr/>
              <a:t>‹#›</a:t>
            </a:fld>
            <a:endParaRPr lang="en-US" dirty="0"/>
          </a:p>
        </p:txBody>
      </p:sp>
      <p:sp>
        <p:nvSpPr>
          <p:cNvPr id="8" name="Textplatzhalter 8">
            <a:extLst>
              <a:ext uri="{FF2B5EF4-FFF2-40B4-BE49-F238E27FC236}">
                <a16:creationId xmlns:a16="http://schemas.microsoft.com/office/drawing/2014/main" id="{FD5E4C93-51C5-4597-8CA9-B2334CFA6B47}"/>
              </a:ext>
            </a:extLst>
          </p:cNvPr>
          <p:cNvSpPr>
            <a:spLocks noGrp="1" noChangeAspect="1"/>
          </p:cNvSpPr>
          <p:nvPr>
            <p:ph type="body" sz="quarter" idx="13" hasCustomPrompt="1"/>
          </p:nvPr>
        </p:nvSpPr>
        <p:spPr bwMode="gray">
          <a:xfrm>
            <a:off x="539750" y="3960813"/>
            <a:ext cx="8280400" cy="493277"/>
          </a:xfrm>
        </p:spPr>
        <p:txBody>
          <a:bodyPr>
            <a:spAutoFit/>
          </a:bodyPr>
          <a:lstStyle>
            <a:lvl1pPr marL="0" indent="0">
              <a:lnSpc>
                <a:spcPct val="120000"/>
              </a:lnSpc>
              <a:spcBef>
                <a:spcPts val="0"/>
              </a:spcBef>
              <a:spcAft>
                <a:spcPts val="0"/>
              </a:spcAft>
              <a:buNone/>
              <a:defRPr sz="1400">
                <a:solidFill>
                  <a:schemeClr val="accent1"/>
                </a:solidFill>
              </a:defRPr>
            </a:lvl1pPr>
            <a:lvl2pPr marL="180000" indent="0">
              <a:buNone/>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rPr lang="en-US"/>
              <a:t>Subtitle</a:t>
            </a:r>
          </a:p>
          <a:p>
            <a:r>
              <a:rPr lang="en-US"/>
              <a:t>Name </a:t>
            </a:r>
            <a:r>
              <a:rPr lang="en-US" dirty="0"/>
              <a:t>Surname, Month YYYY</a:t>
            </a:r>
          </a:p>
        </p:txBody>
      </p:sp>
    </p:spTree>
    <p:extLst>
      <p:ext uri="{BB962C8B-B14F-4D97-AF65-F5344CB8AC3E}">
        <p14:creationId xmlns:p14="http://schemas.microsoft.com/office/powerpoint/2010/main" val="2871015838"/>
      </p:ext>
    </p:extLst>
  </p:cSld>
  <p:clrMapOvr>
    <a:masterClrMapping/>
  </p:clrMapOvr>
  <p:extLst>
    <p:ext uri="{DCECCB84-F9BA-43D5-87BE-67443E8EF086}">
      <p15:sldGuideLst xmlns:p15="http://schemas.microsoft.com/office/powerpoint/2012/main">
        <p15:guide id="2" orient="horz" pos="2495" userDrawn="1">
          <p15:clr>
            <a:srgbClr val="FBAE40"/>
          </p15:clr>
        </p15:guide>
        <p15:guide id="4" orient="horz" pos="2381" userDrawn="1">
          <p15:clr>
            <a:srgbClr val="FBAE40"/>
          </p15:clr>
        </p15:guide>
        <p15:guide id="5" pos="555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0A33A1-DD45-4768-8D42-1CCED7E8F50D}"/>
              </a:ext>
            </a:extLst>
          </p:cNvPr>
          <p:cNvSpPr>
            <a:spLocks noGrp="1"/>
          </p:cNvSpPr>
          <p:nvPr>
            <p:ph type="title" hasCustomPrompt="1"/>
          </p:nvPr>
        </p:nvSpPr>
        <p:spPr/>
        <p:txBody>
          <a:bodyPr/>
          <a:lstStyle/>
          <a:p>
            <a:r>
              <a:rPr lang="en-US"/>
              <a:t>Insert Heading (two lines max)</a:t>
            </a:r>
            <a:endParaRPr lang="en-US" dirty="0"/>
          </a:p>
        </p:txBody>
      </p:sp>
      <p:sp>
        <p:nvSpPr>
          <p:cNvPr id="3" name="Fußzeilenplatzhalter 2">
            <a:extLst>
              <a:ext uri="{FF2B5EF4-FFF2-40B4-BE49-F238E27FC236}">
                <a16:creationId xmlns:a16="http://schemas.microsoft.com/office/drawing/2014/main" id="{CD6E6FD7-1A1D-4077-9538-0A88A20D5BC6}"/>
              </a:ext>
            </a:extLst>
          </p:cNvPr>
          <p:cNvSpPr>
            <a:spLocks noGrp="1"/>
          </p:cNvSpPr>
          <p:nvPr>
            <p:ph type="ftr" sz="quarter" idx="10"/>
          </p:nvPr>
        </p:nvSpPr>
        <p:spPr bwMode="gray"/>
        <p:txBody>
          <a:bodyPr/>
          <a:lstStyle>
            <a:lvl1pPr algn="l">
              <a:defRPr sz="700"/>
            </a:lvl1pPr>
          </a:lstStyle>
          <a:p>
            <a:r>
              <a:rPr lang="en-US"/>
              <a:t>IAV  MM/YYYY  Department Code  Initials  Status: draft, confidential</a:t>
            </a:r>
            <a:endParaRPr lang="en-US" dirty="0"/>
          </a:p>
        </p:txBody>
      </p:sp>
      <p:sp>
        <p:nvSpPr>
          <p:cNvPr id="4" name="Foliennummernplatzhalter 3">
            <a:extLst>
              <a:ext uri="{FF2B5EF4-FFF2-40B4-BE49-F238E27FC236}">
                <a16:creationId xmlns:a16="http://schemas.microsoft.com/office/drawing/2014/main" id="{DC2104F3-786C-460F-AEEF-DFFB798911E3}"/>
              </a:ext>
            </a:extLst>
          </p:cNvPr>
          <p:cNvSpPr>
            <a:spLocks noGrp="1"/>
          </p:cNvSpPr>
          <p:nvPr>
            <p:ph type="sldNum" sz="quarter" idx="11"/>
          </p:nvPr>
        </p:nvSpPr>
        <p:spPr bwMode="gray"/>
        <p:txBody>
          <a:bodyPr/>
          <a:lstStyle>
            <a:lvl1pPr algn="l">
              <a:defRPr sz="700"/>
            </a:lvl1pPr>
          </a:lstStyle>
          <a:p>
            <a:fld id="{C651C7C4-31E4-E340-822E-DEA0EA75A835}" type="slidenum">
              <a:rPr lang="en-US" smtClean="0"/>
              <a:pPr/>
              <a:t>‹#›</a:t>
            </a:fld>
            <a:endParaRPr lang="en-US" dirty="0"/>
          </a:p>
        </p:txBody>
      </p:sp>
      <p:sp>
        <p:nvSpPr>
          <p:cNvPr id="10" name="Textplatzhalter 9">
            <a:extLst>
              <a:ext uri="{FF2B5EF4-FFF2-40B4-BE49-F238E27FC236}">
                <a16:creationId xmlns:a16="http://schemas.microsoft.com/office/drawing/2014/main" id="{F9318C5E-89FA-4ECC-A117-7F7FDE7986BC}"/>
              </a:ext>
            </a:extLst>
          </p:cNvPr>
          <p:cNvSpPr>
            <a:spLocks noGrp="1"/>
          </p:cNvSpPr>
          <p:nvPr>
            <p:ph type="body" sz="quarter" idx="12" hasCustomPrompt="1"/>
          </p:nvPr>
        </p:nvSpPr>
        <p:spPr>
          <a:xfrm>
            <a:off x="539665" y="1295399"/>
            <a:ext cx="3240173" cy="1860509"/>
          </a:xfrm>
        </p:spPr>
        <p:txBody>
          <a:bodyPr>
            <a:spAutoFit/>
          </a:bodyPr>
          <a:lstStyle>
            <a:lvl1pPr>
              <a:lnSpc>
                <a:spcPct val="120000"/>
              </a:lnSpc>
              <a:buClrTx/>
              <a:defRPr/>
            </a:lvl1pPr>
            <a:lvl2pPr>
              <a:lnSpc>
                <a:spcPct val="120000"/>
              </a:lnSpc>
              <a:buClrTx/>
              <a:defRPr/>
            </a:lvl2pPr>
            <a:lvl3pPr>
              <a:lnSpc>
                <a:spcPct val="120000"/>
              </a:lnSpc>
              <a:buClrTx/>
              <a:defRPr/>
            </a:lvl3pPr>
            <a:lvl4pPr>
              <a:lnSpc>
                <a:spcPct val="120000"/>
              </a:lnSpc>
              <a:buClrTx/>
              <a:defRPr/>
            </a:lvl4pPr>
            <a:lvl5pPr>
              <a:buClrTx/>
              <a:defRPr/>
            </a:lvl5pPr>
          </a:lstStyle>
          <a:p>
            <a:pPr lvl="0"/>
            <a:r>
              <a:rPr lang="en-US"/>
              <a:t>First level</a:t>
            </a:r>
          </a:p>
          <a:p>
            <a:pPr lvl="1"/>
            <a:r>
              <a:rPr lang="en-US"/>
              <a:t>Second </a:t>
            </a:r>
            <a:r>
              <a:rPr lang="en-US" dirty="0"/>
              <a:t>level</a:t>
            </a:r>
          </a:p>
          <a:p>
            <a:pPr lvl="2"/>
            <a:r>
              <a:rPr lang="en-US" dirty="0"/>
              <a:t>Third level</a:t>
            </a:r>
          </a:p>
          <a:p>
            <a:pPr lvl="3"/>
            <a:r>
              <a:rPr lang="en-US" dirty="0"/>
              <a:t>Fourth level</a:t>
            </a:r>
          </a:p>
          <a:p>
            <a:pPr lvl="4"/>
            <a:r>
              <a:rPr lang="en-US" dirty="0"/>
              <a:t>Fifth level</a:t>
            </a:r>
          </a:p>
        </p:txBody>
      </p:sp>
      <p:sp>
        <p:nvSpPr>
          <p:cNvPr id="11" name="Textplatzhalter 9">
            <a:extLst>
              <a:ext uri="{FF2B5EF4-FFF2-40B4-BE49-F238E27FC236}">
                <a16:creationId xmlns:a16="http://schemas.microsoft.com/office/drawing/2014/main" id="{69585600-7B4A-4FD9-B2AF-A86376EA3DBF}"/>
              </a:ext>
            </a:extLst>
          </p:cNvPr>
          <p:cNvSpPr>
            <a:spLocks noGrp="1"/>
          </p:cNvSpPr>
          <p:nvPr>
            <p:ph type="body" sz="quarter" idx="13" hasCustomPrompt="1"/>
          </p:nvPr>
        </p:nvSpPr>
        <p:spPr>
          <a:xfrm>
            <a:off x="4140064" y="1295399"/>
            <a:ext cx="3240087" cy="1860509"/>
          </a:xfrm>
        </p:spPr>
        <p:txBody>
          <a:bodyPr>
            <a:spAutoFit/>
          </a:bodyPr>
          <a:lstStyle>
            <a:lvl1pPr>
              <a:lnSpc>
                <a:spcPct val="120000"/>
              </a:lnSpc>
              <a:buClrTx/>
              <a:defRPr/>
            </a:lvl1pPr>
            <a:lvl2pPr>
              <a:lnSpc>
                <a:spcPct val="120000"/>
              </a:lnSpc>
              <a:buClrTx/>
              <a:defRPr/>
            </a:lvl2pPr>
            <a:lvl3pPr>
              <a:lnSpc>
                <a:spcPct val="120000"/>
              </a:lnSpc>
              <a:buClrTx/>
              <a:defRPr/>
            </a:lvl3pPr>
            <a:lvl4pPr>
              <a:lnSpc>
                <a:spcPct val="120000"/>
              </a:lnSpc>
              <a:buClrTx/>
              <a:defRPr/>
            </a:lvl4pPr>
            <a:lvl5pPr>
              <a:buClrTx/>
              <a:defRPr/>
            </a:lvl5pPr>
          </a:lstStyle>
          <a:p>
            <a:pPr lvl="0"/>
            <a:r>
              <a:rPr lang="en-US"/>
              <a:t>First level</a:t>
            </a:r>
          </a:p>
          <a:p>
            <a:pPr lvl="1"/>
            <a:r>
              <a:rPr lang="en-US"/>
              <a:t>Second </a:t>
            </a:r>
            <a:r>
              <a:rPr lang="en-US" dirty="0"/>
              <a:t>level</a:t>
            </a:r>
          </a:p>
          <a:p>
            <a:pPr lvl="2"/>
            <a:r>
              <a:rPr lang="en-US" dirty="0"/>
              <a:t>Third level</a:t>
            </a:r>
          </a:p>
          <a:p>
            <a:pPr lvl="3"/>
            <a:r>
              <a:rPr lang="en-US" dirty="0"/>
              <a:t>Fourth level</a:t>
            </a:r>
          </a:p>
          <a:p>
            <a:pPr lvl="4"/>
            <a:r>
              <a:rPr lang="en-US" dirty="0"/>
              <a:t>Fifth level</a:t>
            </a:r>
          </a:p>
        </p:txBody>
      </p:sp>
      <p:sp>
        <p:nvSpPr>
          <p:cNvPr id="12" name="Textplatzhalter 9">
            <a:extLst>
              <a:ext uri="{FF2B5EF4-FFF2-40B4-BE49-F238E27FC236}">
                <a16:creationId xmlns:a16="http://schemas.microsoft.com/office/drawing/2014/main" id="{BEB46638-66D7-4118-9E58-EE2C8D6B85BB}"/>
              </a:ext>
            </a:extLst>
          </p:cNvPr>
          <p:cNvSpPr>
            <a:spLocks noGrp="1"/>
          </p:cNvSpPr>
          <p:nvPr>
            <p:ph type="body" sz="quarter" idx="14" hasCustomPrompt="1"/>
          </p:nvPr>
        </p:nvSpPr>
        <p:spPr>
          <a:xfrm>
            <a:off x="7740377" y="1295399"/>
            <a:ext cx="3240086" cy="1860509"/>
          </a:xfrm>
        </p:spPr>
        <p:txBody>
          <a:bodyPr>
            <a:spAutoFit/>
          </a:bodyPr>
          <a:lstStyle>
            <a:lvl1pPr>
              <a:lnSpc>
                <a:spcPct val="120000"/>
              </a:lnSpc>
              <a:buClrTx/>
              <a:defRPr/>
            </a:lvl1pPr>
            <a:lvl2pPr>
              <a:lnSpc>
                <a:spcPct val="120000"/>
              </a:lnSpc>
              <a:buClrTx/>
              <a:defRPr/>
            </a:lvl2pPr>
            <a:lvl3pPr>
              <a:lnSpc>
                <a:spcPct val="120000"/>
              </a:lnSpc>
              <a:buClrTx/>
              <a:defRPr/>
            </a:lvl3pPr>
            <a:lvl4pPr>
              <a:lnSpc>
                <a:spcPct val="120000"/>
              </a:lnSpc>
              <a:buClrTx/>
              <a:defRPr/>
            </a:lvl4pPr>
            <a:lvl5pPr>
              <a:buClrTx/>
              <a:defRPr/>
            </a:lvl5pPr>
          </a:lstStyle>
          <a:p>
            <a:pPr lvl="0"/>
            <a:r>
              <a:rPr lang="en-US"/>
              <a:t>First level</a:t>
            </a:r>
          </a:p>
          <a:p>
            <a:pPr lvl="1"/>
            <a:r>
              <a:rPr lang="en-US"/>
              <a:t>Second </a:t>
            </a:r>
            <a:r>
              <a:rPr lang="en-US" dirty="0"/>
              <a:t>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96540728"/>
      </p:ext>
    </p:extLst>
  </p:cSld>
  <p:clrMapOvr>
    <a:masterClrMapping/>
  </p:clrMapOvr>
  <p:extLst>
    <p:ext uri="{DCECCB84-F9BA-43D5-87BE-67443E8EF086}">
      <p15:sldGuideLst xmlns:p15="http://schemas.microsoft.com/office/powerpoint/2012/main">
        <p15:guide id="1" pos="2608" userDrawn="1">
          <p15:clr>
            <a:srgbClr val="FBAE40"/>
          </p15:clr>
        </p15:guide>
        <p15:guide id="2" pos="2381" userDrawn="1">
          <p15:clr>
            <a:srgbClr val="FBAE40"/>
          </p15:clr>
        </p15:guide>
        <p15:guide id="3" pos="4649" userDrawn="1">
          <p15:clr>
            <a:srgbClr val="FBAE40"/>
          </p15:clr>
        </p15:guide>
        <p15:guide id="4" pos="4876"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ighlight">
    <p:bg>
      <p:bgPr>
        <a:solidFill>
          <a:schemeClr val="tx1"/>
        </a:solidFill>
        <a:effectLst/>
      </p:bgPr>
    </p:bg>
    <p:spTree>
      <p:nvGrpSpPr>
        <p:cNvPr id="1" name=""/>
        <p:cNvGrpSpPr/>
        <p:nvPr/>
      </p:nvGrpSpPr>
      <p:grpSpPr>
        <a:xfrm>
          <a:off x="0" y="0"/>
          <a:ext cx="0" cy="0"/>
          <a:chOff x="0" y="0"/>
          <a:chExt cx="0" cy="0"/>
        </a:xfrm>
      </p:grpSpPr>
      <p:sp>
        <p:nvSpPr>
          <p:cNvPr id="5" name="Bildplatzhalter 8">
            <a:extLst>
              <a:ext uri="{FF2B5EF4-FFF2-40B4-BE49-F238E27FC236}">
                <a16:creationId xmlns:a16="http://schemas.microsoft.com/office/drawing/2014/main" id="{A34D6C70-9B9F-440C-9118-8C886093B483}"/>
              </a:ext>
            </a:extLst>
          </p:cNvPr>
          <p:cNvSpPr>
            <a:spLocks noGrp="1"/>
          </p:cNvSpPr>
          <p:nvPr>
            <p:ph type="pic" sz="quarter" idx="12" hasCustomPrompt="1"/>
          </p:nvPr>
        </p:nvSpPr>
        <p:spPr>
          <a:xfrm>
            <a:off x="0" y="0"/>
            <a:ext cx="11520488" cy="6480175"/>
          </a:xfrm>
        </p:spPr>
        <p:txBody>
          <a:bodyPr anchor="ctr"/>
          <a:lstStyle>
            <a:lvl1pPr marL="0" indent="0" algn="ctr">
              <a:buNone/>
              <a:defRPr>
                <a:solidFill>
                  <a:schemeClr val="accent6"/>
                </a:solidFill>
              </a:defRPr>
            </a:lvl1pPr>
          </a:lstStyle>
          <a:p>
            <a:r>
              <a:rPr lang="en-US"/>
              <a:t>Insert background picture</a:t>
            </a:r>
            <a:endParaRPr lang="en-US" dirty="0"/>
          </a:p>
        </p:txBody>
      </p:sp>
      <p:sp>
        <p:nvSpPr>
          <p:cNvPr id="2" name="Titel 1">
            <a:extLst>
              <a:ext uri="{FF2B5EF4-FFF2-40B4-BE49-F238E27FC236}">
                <a16:creationId xmlns:a16="http://schemas.microsoft.com/office/drawing/2014/main" id="{80AEDBF7-EAD7-4A97-BAF0-B9AC481F7B90}"/>
              </a:ext>
            </a:extLst>
          </p:cNvPr>
          <p:cNvSpPr>
            <a:spLocks noGrp="1"/>
          </p:cNvSpPr>
          <p:nvPr>
            <p:ph type="title" hasCustomPrompt="1"/>
          </p:nvPr>
        </p:nvSpPr>
        <p:spPr bwMode="gray">
          <a:xfrm>
            <a:off x="539750" y="4078843"/>
            <a:ext cx="10440988" cy="890032"/>
          </a:xfrm>
        </p:spPr>
        <p:txBody>
          <a:bodyPr anchor="b">
            <a:spAutoFit/>
          </a:bodyPr>
          <a:lstStyle>
            <a:lvl1pPr>
              <a:lnSpc>
                <a:spcPct val="90000"/>
              </a:lnSpc>
              <a:defRPr sz="6400" b="0">
                <a:solidFill>
                  <a:schemeClr val="bg1"/>
                </a:solidFill>
              </a:defRPr>
            </a:lvl1pPr>
          </a:lstStyle>
          <a:p>
            <a:r>
              <a:rPr lang="en-US"/>
              <a:t>A Short Statement</a:t>
            </a:r>
            <a:endParaRPr lang="en-US" dirty="0"/>
          </a:p>
        </p:txBody>
      </p:sp>
      <p:sp>
        <p:nvSpPr>
          <p:cNvPr id="3" name="Fußzeilenplatzhalter 2">
            <a:extLst>
              <a:ext uri="{FF2B5EF4-FFF2-40B4-BE49-F238E27FC236}">
                <a16:creationId xmlns:a16="http://schemas.microsoft.com/office/drawing/2014/main" id="{40AD1742-691D-4813-997E-E3A9F53D8E6C}"/>
              </a:ext>
            </a:extLst>
          </p:cNvPr>
          <p:cNvSpPr>
            <a:spLocks noGrp="1"/>
          </p:cNvSpPr>
          <p:nvPr>
            <p:ph type="ftr" sz="quarter" idx="10"/>
          </p:nvPr>
        </p:nvSpPr>
        <p:spPr bwMode="gray"/>
        <p:txBody>
          <a:bodyPr/>
          <a:lstStyle>
            <a:lvl1pPr>
              <a:defRPr>
                <a:solidFill>
                  <a:schemeClr val="bg1"/>
                </a:solidFill>
              </a:defRPr>
            </a:lvl1pPr>
          </a:lstStyle>
          <a:p>
            <a:r>
              <a:rPr lang="en-US"/>
              <a:t>IAV  MM/YYYY  Department Code  Initials  Status: draft, confidential</a:t>
            </a:r>
            <a:endParaRPr lang="en-US" dirty="0"/>
          </a:p>
        </p:txBody>
      </p:sp>
      <p:sp>
        <p:nvSpPr>
          <p:cNvPr id="4" name="Foliennummernplatzhalter 3">
            <a:extLst>
              <a:ext uri="{FF2B5EF4-FFF2-40B4-BE49-F238E27FC236}">
                <a16:creationId xmlns:a16="http://schemas.microsoft.com/office/drawing/2014/main" id="{594252BC-C4CD-4D6D-B7F8-1B4C2665ADB5}"/>
              </a:ext>
            </a:extLst>
          </p:cNvPr>
          <p:cNvSpPr>
            <a:spLocks noGrp="1"/>
          </p:cNvSpPr>
          <p:nvPr>
            <p:ph type="sldNum" sz="quarter" idx="11"/>
          </p:nvPr>
        </p:nvSpPr>
        <p:spPr bwMode="gray"/>
        <p:txBody>
          <a:bodyPr/>
          <a:lstStyle>
            <a:lvl1pPr>
              <a:defRPr>
                <a:solidFill>
                  <a:schemeClr val="bg1"/>
                </a:solidFill>
              </a:defRPr>
            </a:lvl1pPr>
          </a:lstStyle>
          <a:p>
            <a:fld id="{C651C7C4-31E4-E340-822E-DEA0EA75A835}" type="slidenum">
              <a:rPr lang="en-US" smtClean="0"/>
              <a:pPr/>
              <a:t>‹#›</a:t>
            </a:fld>
            <a:endParaRPr lang="en-US" dirty="0"/>
          </a:p>
        </p:txBody>
      </p:sp>
    </p:spTree>
    <p:extLst>
      <p:ext uri="{BB962C8B-B14F-4D97-AF65-F5344CB8AC3E}">
        <p14:creationId xmlns:p14="http://schemas.microsoft.com/office/powerpoint/2010/main" val="595644910"/>
      </p:ext>
    </p:extLst>
  </p:cSld>
  <p:clrMapOvr>
    <a:masterClrMapping/>
  </p:clrMapOvr>
  <p:extLst>
    <p:ext uri="{DCECCB84-F9BA-43D5-87BE-67443E8EF086}">
      <p15:sldGuideLst xmlns:p15="http://schemas.microsoft.com/office/powerpoint/2012/main">
        <p15:guide id="1" orient="horz" pos="313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4D4B6-6919-4B05-9865-A84FDCB3F1A6}"/>
              </a:ext>
            </a:extLst>
          </p:cNvPr>
          <p:cNvSpPr>
            <a:spLocks noGrp="1"/>
          </p:cNvSpPr>
          <p:nvPr>
            <p:ph type="title" hasCustomPrompt="1"/>
            <p:custDataLst>
              <p:tags r:id="rId1"/>
            </p:custDataLst>
          </p:nvPr>
        </p:nvSpPr>
        <p:spPr/>
        <p:txBody>
          <a:bodyPr/>
          <a:lstStyle>
            <a:lvl1pPr>
              <a:defRPr/>
            </a:lvl1pPr>
          </a:lstStyle>
          <a:p>
            <a:r>
              <a:t>Click to Add a Title</a:t>
            </a:r>
          </a:p>
        </p:txBody>
      </p:sp>
      <p:sp>
        <p:nvSpPr>
          <p:cNvPr id="3" name="Text Placeholder 6">
            <a:extLst>
              <a:ext uri="{FF2B5EF4-FFF2-40B4-BE49-F238E27FC236}">
                <a16:creationId xmlns:a16="http://schemas.microsoft.com/office/drawing/2014/main" id="{9C032D36-66AB-4AEF-A795-4ED1CE7E776A}"/>
              </a:ext>
            </a:extLst>
          </p:cNvPr>
          <p:cNvSpPr>
            <a:spLocks noGrp="1"/>
          </p:cNvSpPr>
          <p:nvPr>
            <p:ph type="body" sz="quarter" idx="12" hasCustomPrompt="1"/>
            <p:custDataLst>
              <p:tags r:id="rId2"/>
            </p:custDataLst>
          </p:nvPr>
        </p:nvSpPr>
        <p:spPr>
          <a:xfrm>
            <a:off x="431409" y="950425"/>
            <a:ext cx="10657060" cy="345609"/>
          </a:xfrm>
        </p:spPr>
        <p:txBody>
          <a:bodyPr>
            <a:noAutofit/>
          </a:bodyPr>
          <a:lstStyle>
            <a:lvl1pPr marL="0" indent="0">
              <a:spcBef>
                <a:spcPts val="0"/>
              </a:spcBef>
              <a:buFont typeface="Arial" panose="020B0604020202020204" pitchFamily="34" charset="0"/>
              <a:buNone/>
              <a:defRPr sz="2079" i="0">
                <a:solidFill>
                  <a:schemeClr val="tx1"/>
                </a:solidFill>
              </a:defRPr>
            </a:lvl1pPr>
            <a:lvl2pPr marL="0" indent="0">
              <a:spcBef>
                <a:spcPts val="0"/>
              </a:spcBef>
              <a:buNone/>
              <a:defRPr sz="2268">
                <a:solidFill>
                  <a:schemeClr val="tx1">
                    <a:lumMod val="65000"/>
                    <a:lumOff val="35000"/>
                  </a:schemeClr>
                </a:solidFill>
              </a:defRPr>
            </a:lvl2pPr>
            <a:lvl3pPr marL="0" indent="0">
              <a:spcBef>
                <a:spcPts val="0"/>
              </a:spcBef>
              <a:buNone/>
              <a:defRPr sz="2268">
                <a:solidFill>
                  <a:schemeClr val="tx1">
                    <a:lumMod val="65000"/>
                    <a:lumOff val="35000"/>
                  </a:schemeClr>
                </a:solidFill>
              </a:defRPr>
            </a:lvl3pPr>
            <a:lvl4pPr marL="0" indent="0">
              <a:spcBef>
                <a:spcPts val="0"/>
              </a:spcBef>
              <a:buNone/>
              <a:defRPr sz="2268">
                <a:solidFill>
                  <a:schemeClr val="tx1">
                    <a:lumMod val="65000"/>
                    <a:lumOff val="35000"/>
                  </a:schemeClr>
                </a:solidFill>
              </a:defRPr>
            </a:lvl4pPr>
            <a:lvl5pPr marL="0" indent="0">
              <a:spcBef>
                <a:spcPts val="0"/>
              </a:spcBef>
              <a:buNone/>
              <a:defRPr sz="2268">
                <a:solidFill>
                  <a:schemeClr val="tx1">
                    <a:lumMod val="65000"/>
                    <a:lumOff val="35000"/>
                  </a:schemeClr>
                </a:solidFill>
              </a:defRPr>
            </a:lvl5pPr>
            <a:lvl6pPr marL="0" indent="0">
              <a:spcBef>
                <a:spcPts val="0"/>
              </a:spcBef>
              <a:buNone/>
              <a:defRPr sz="2268">
                <a:solidFill>
                  <a:schemeClr val="tx1">
                    <a:lumMod val="65000"/>
                    <a:lumOff val="35000"/>
                  </a:schemeClr>
                </a:solidFill>
              </a:defRPr>
            </a:lvl6pPr>
            <a:lvl7pPr marL="0" indent="0">
              <a:spcBef>
                <a:spcPts val="0"/>
              </a:spcBef>
              <a:buNone/>
              <a:defRPr sz="2268">
                <a:solidFill>
                  <a:schemeClr val="tx1">
                    <a:lumMod val="65000"/>
                    <a:lumOff val="35000"/>
                  </a:schemeClr>
                </a:solidFill>
              </a:defRPr>
            </a:lvl7pPr>
            <a:lvl8pPr marL="0" indent="0">
              <a:spcBef>
                <a:spcPts val="0"/>
              </a:spcBef>
              <a:buNone/>
              <a:defRPr sz="2268">
                <a:solidFill>
                  <a:schemeClr val="tx1">
                    <a:lumMod val="65000"/>
                    <a:lumOff val="35000"/>
                  </a:schemeClr>
                </a:solidFill>
              </a:defRPr>
            </a:lvl8pPr>
            <a:lvl9pPr marL="0" indent="0">
              <a:spcBef>
                <a:spcPts val="0"/>
              </a:spcBef>
              <a:buNone/>
              <a:defRPr sz="2268">
                <a:solidFill>
                  <a:schemeClr val="tx1">
                    <a:lumMod val="65000"/>
                    <a:lumOff val="35000"/>
                  </a:schemeClr>
                </a:solidFill>
              </a:defRPr>
            </a:lvl9pPr>
          </a:lstStyle>
          <a:p>
            <a:pPr lvl="0"/>
            <a:r>
              <a:t>Click to Add a Subtitle</a:t>
            </a:r>
          </a:p>
        </p:txBody>
      </p:sp>
    </p:spTree>
    <p:extLst>
      <p:ext uri="{BB962C8B-B14F-4D97-AF65-F5344CB8AC3E}">
        <p14:creationId xmlns:p14="http://schemas.microsoft.com/office/powerpoint/2010/main" val="1314442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tx1"/>
        </a:solidFill>
        <a:effectLst/>
      </p:bgPr>
    </p:bg>
    <p:spTree>
      <p:nvGrpSpPr>
        <p:cNvPr id="1" name=""/>
        <p:cNvGrpSpPr/>
        <p:nvPr/>
      </p:nvGrpSpPr>
      <p:grpSpPr>
        <a:xfrm>
          <a:off x="0" y="0"/>
          <a:ext cx="0" cy="0"/>
          <a:chOff x="0" y="0"/>
          <a:chExt cx="0" cy="0"/>
        </a:xfrm>
      </p:grpSpPr>
      <p:pic>
        <p:nvPicPr>
          <p:cNvPr id="19" name="Bildplatzhalter 48">
            <a:extLst>
              <a:ext uri="{FF2B5EF4-FFF2-40B4-BE49-F238E27FC236}">
                <a16:creationId xmlns:a16="http://schemas.microsoft.com/office/drawing/2014/main" id="{6B601E17-8A59-4A30-A3C9-0755A73AA802}"/>
              </a:ext>
            </a:extLst>
          </p:cNvPr>
          <p:cNvPicPr>
            <a:picLocks noChangeAspect="1"/>
          </p:cNvPicPr>
          <p:nvPr userDrawn="1"/>
        </p:nvPicPr>
        <p:blipFill>
          <a:blip r:embed="rId2">
            <a:extLst>
              <a:ext uri="{28A0092B-C50C-407E-A947-70E740481C1C}">
                <a14:useLocalDpi xmlns:a14="http://schemas.microsoft.com/office/drawing/2010/main" val="0"/>
              </a:ext>
            </a:extLst>
          </a:blip>
          <a:srcRect l="144" r="144"/>
          <a:stretch/>
        </p:blipFill>
        <p:spPr>
          <a:xfrm>
            <a:off x="-396" y="-273"/>
            <a:ext cx="11520884" cy="6480448"/>
          </a:xfrm>
          <a:prstGeom prst="rect">
            <a:avLst/>
          </a:prstGeom>
        </p:spPr>
      </p:pic>
      <p:pic>
        <p:nvPicPr>
          <p:cNvPr id="20" name="IAV_Logo">
            <a:extLst>
              <a:ext uri="{FF2B5EF4-FFF2-40B4-BE49-F238E27FC236}">
                <a16:creationId xmlns:a16="http://schemas.microsoft.com/office/drawing/2014/main" id="{50DAB219-8AD2-42BC-9BBF-87F7082EE351}"/>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48337" y="4824263"/>
            <a:ext cx="2148511" cy="1188000"/>
          </a:xfrm>
          <a:prstGeom prst="rect">
            <a:avLst/>
          </a:prstGeom>
        </p:spPr>
      </p:pic>
      <p:sp>
        <p:nvSpPr>
          <p:cNvPr id="2" name="Titel 1">
            <a:extLst>
              <a:ext uri="{FF2B5EF4-FFF2-40B4-BE49-F238E27FC236}">
                <a16:creationId xmlns:a16="http://schemas.microsoft.com/office/drawing/2014/main" id="{56076F01-17EC-4724-B8CD-18FD44ECA277}"/>
              </a:ext>
            </a:extLst>
          </p:cNvPr>
          <p:cNvSpPr>
            <a:spLocks noGrp="1"/>
          </p:cNvSpPr>
          <p:nvPr>
            <p:ph type="title" hasCustomPrompt="1"/>
          </p:nvPr>
        </p:nvSpPr>
        <p:spPr>
          <a:xfrm>
            <a:off x="539750" y="3376402"/>
            <a:ext cx="8280000" cy="403745"/>
          </a:xfrm>
        </p:spPr>
        <p:txBody>
          <a:bodyPr anchor="b">
            <a:spAutoFit/>
          </a:bodyPr>
          <a:lstStyle>
            <a:lvl1pPr>
              <a:lnSpc>
                <a:spcPct val="100000"/>
              </a:lnSpc>
              <a:defRPr sz="2600">
                <a:solidFill>
                  <a:schemeClr val="accent5"/>
                </a:solidFill>
              </a:defRPr>
            </a:lvl1pPr>
          </a:lstStyle>
          <a:p>
            <a:r>
              <a:rPr lang="en-US" dirty="0"/>
              <a:t>Insert Presentation Title</a:t>
            </a:r>
          </a:p>
        </p:txBody>
      </p:sp>
      <p:sp>
        <p:nvSpPr>
          <p:cNvPr id="11" name="Fußzeilenplatzhalter 3">
            <a:extLst>
              <a:ext uri="{FF2B5EF4-FFF2-40B4-BE49-F238E27FC236}">
                <a16:creationId xmlns:a16="http://schemas.microsoft.com/office/drawing/2014/main" id="{B83318C4-BD94-43DC-9006-08A86888342C}"/>
              </a:ext>
            </a:extLst>
          </p:cNvPr>
          <p:cNvSpPr>
            <a:spLocks noGrp="1"/>
          </p:cNvSpPr>
          <p:nvPr>
            <p:ph type="ftr" sz="quarter" idx="3"/>
          </p:nvPr>
        </p:nvSpPr>
        <p:spPr bwMode="gray">
          <a:xfrm>
            <a:off x="647676" y="6516432"/>
            <a:ext cx="288000" cy="36000"/>
          </a:xfrm>
          <a:prstGeom prst="rect">
            <a:avLst/>
          </a:prstGeom>
        </p:spPr>
        <p:txBody>
          <a:bodyPr vert="horz" lIns="0" tIns="0" rIns="0" bIns="0" rtlCol="0" anchor="ctr"/>
          <a:lstStyle>
            <a:lvl1pPr algn="l">
              <a:defRPr sz="100">
                <a:solidFill>
                  <a:srgbClr val="E6E6E6"/>
                </a:solidFill>
              </a:defRPr>
            </a:lvl1pPr>
          </a:lstStyle>
          <a:p>
            <a:r>
              <a:rPr lang="en-US"/>
              <a:t>IAV  MM/JJJJ  Abteilungskürzel  Namenskürzel  Status: Entwurf, vertraulich</a:t>
            </a:r>
            <a:endParaRPr lang="en-US" dirty="0"/>
          </a:p>
        </p:txBody>
      </p:sp>
      <p:sp>
        <p:nvSpPr>
          <p:cNvPr id="12" name="Foliennummernplatzhalter 4">
            <a:extLst>
              <a:ext uri="{FF2B5EF4-FFF2-40B4-BE49-F238E27FC236}">
                <a16:creationId xmlns:a16="http://schemas.microsoft.com/office/drawing/2014/main" id="{8F0656A1-F47D-4352-8B2B-0ACAE4E82B9E}"/>
              </a:ext>
            </a:extLst>
          </p:cNvPr>
          <p:cNvSpPr>
            <a:spLocks noGrp="1"/>
          </p:cNvSpPr>
          <p:nvPr>
            <p:ph type="sldNum" sz="quarter" idx="4"/>
          </p:nvPr>
        </p:nvSpPr>
        <p:spPr bwMode="gray">
          <a:xfrm>
            <a:off x="539664" y="6516455"/>
            <a:ext cx="72008" cy="36000"/>
          </a:xfrm>
          <a:prstGeom prst="rect">
            <a:avLst/>
          </a:prstGeom>
        </p:spPr>
        <p:txBody>
          <a:bodyPr vert="horz" lIns="0" tIns="0" rIns="0" bIns="0" rtlCol="0" anchor="ctr"/>
          <a:lstStyle>
            <a:lvl1pPr algn="l">
              <a:defRPr sz="100">
                <a:solidFill>
                  <a:srgbClr val="E6E6E6"/>
                </a:solidFill>
              </a:defRPr>
            </a:lvl1pPr>
          </a:lstStyle>
          <a:p>
            <a:fld id="{C651C7C4-31E4-E340-822E-DEA0EA75A835}" type="slidenum">
              <a:rPr lang="en-US" smtClean="0"/>
              <a:pPr/>
              <a:t>‹#›</a:t>
            </a:fld>
            <a:endParaRPr lang="en-US" dirty="0"/>
          </a:p>
        </p:txBody>
      </p:sp>
      <p:sp>
        <p:nvSpPr>
          <p:cNvPr id="8" name="Textplatzhalter 8">
            <a:extLst>
              <a:ext uri="{FF2B5EF4-FFF2-40B4-BE49-F238E27FC236}">
                <a16:creationId xmlns:a16="http://schemas.microsoft.com/office/drawing/2014/main" id="{AFAD9856-3C3B-41AA-8777-BA13CE8222E9}"/>
              </a:ext>
            </a:extLst>
          </p:cNvPr>
          <p:cNvSpPr>
            <a:spLocks noGrp="1" noChangeAspect="1"/>
          </p:cNvSpPr>
          <p:nvPr>
            <p:ph type="body" sz="quarter" idx="13" hasCustomPrompt="1"/>
          </p:nvPr>
        </p:nvSpPr>
        <p:spPr bwMode="gray">
          <a:xfrm>
            <a:off x="539750" y="3960813"/>
            <a:ext cx="8280400" cy="493277"/>
          </a:xfrm>
        </p:spPr>
        <p:txBody>
          <a:bodyPr>
            <a:spAutoFit/>
          </a:bodyPr>
          <a:lstStyle>
            <a:lvl1pPr marL="0" indent="0">
              <a:lnSpc>
                <a:spcPct val="120000"/>
              </a:lnSpc>
              <a:spcBef>
                <a:spcPts val="0"/>
              </a:spcBef>
              <a:spcAft>
                <a:spcPts val="0"/>
              </a:spcAft>
              <a:buNone/>
              <a:defRPr sz="1400">
                <a:solidFill>
                  <a:srgbClr val="A200E6"/>
                </a:solidFill>
              </a:defRPr>
            </a:lvl1pPr>
            <a:lvl2pPr marL="180000" indent="0">
              <a:buNone/>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rPr lang="en-US"/>
              <a:t>Subtitle</a:t>
            </a:r>
          </a:p>
          <a:p>
            <a:r>
              <a:rPr lang="en-US"/>
              <a:t>Name </a:t>
            </a:r>
            <a:r>
              <a:rPr lang="en-US" dirty="0"/>
              <a:t>Surname, Month YYYY</a:t>
            </a:r>
          </a:p>
        </p:txBody>
      </p:sp>
    </p:spTree>
    <p:extLst>
      <p:ext uri="{BB962C8B-B14F-4D97-AF65-F5344CB8AC3E}">
        <p14:creationId xmlns:p14="http://schemas.microsoft.com/office/powerpoint/2010/main" val="4099379384"/>
      </p:ext>
    </p:extLst>
  </p:cSld>
  <p:clrMapOvr>
    <a:masterClrMapping/>
  </p:clrMapOvr>
  <p:extLst>
    <p:ext uri="{DCECCB84-F9BA-43D5-87BE-67443E8EF086}">
      <p15:sldGuideLst xmlns:p15="http://schemas.microsoft.com/office/powerpoint/2012/main">
        <p15:guide id="2" orient="horz" pos="2495" userDrawn="1">
          <p15:clr>
            <a:srgbClr val="FBAE40"/>
          </p15:clr>
        </p15:guide>
        <p15:guide id="4" orient="horz" pos="2381" userDrawn="1">
          <p15:clr>
            <a:srgbClr val="FBAE40"/>
          </p15:clr>
        </p15:guide>
        <p15:guide id="5" pos="555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3">
    <p:bg>
      <p:bgPr>
        <a:solidFill>
          <a:schemeClr val="tx1"/>
        </a:solidFill>
        <a:effectLst/>
      </p:bgPr>
    </p:bg>
    <p:spTree>
      <p:nvGrpSpPr>
        <p:cNvPr id="1" name=""/>
        <p:cNvGrpSpPr/>
        <p:nvPr/>
      </p:nvGrpSpPr>
      <p:grpSpPr>
        <a:xfrm>
          <a:off x="0" y="0"/>
          <a:ext cx="0" cy="0"/>
          <a:chOff x="0" y="0"/>
          <a:chExt cx="0" cy="0"/>
        </a:xfrm>
      </p:grpSpPr>
      <p:pic>
        <p:nvPicPr>
          <p:cNvPr id="19" name="Bildplatzhalter 48">
            <a:extLst>
              <a:ext uri="{FF2B5EF4-FFF2-40B4-BE49-F238E27FC236}">
                <a16:creationId xmlns:a16="http://schemas.microsoft.com/office/drawing/2014/main" id="{6B601E17-8A59-4A30-A3C9-0755A73AA802}"/>
              </a:ext>
            </a:extLst>
          </p:cNvPr>
          <p:cNvPicPr>
            <a:picLocks noChangeAspect="1"/>
          </p:cNvPicPr>
          <p:nvPr userDrawn="1"/>
        </p:nvPicPr>
        <p:blipFill>
          <a:blip r:embed="rId2">
            <a:extLst>
              <a:ext uri="{28A0092B-C50C-407E-A947-70E740481C1C}">
                <a14:useLocalDpi xmlns:a14="http://schemas.microsoft.com/office/drawing/2010/main" val="0"/>
              </a:ext>
            </a:extLst>
          </a:blip>
          <a:srcRect l="118" r="118"/>
          <a:stretch/>
        </p:blipFill>
        <p:spPr>
          <a:xfrm>
            <a:off x="-396" y="-273"/>
            <a:ext cx="11520884" cy="6480448"/>
          </a:xfrm>
          <a:prstGeom prst="rect">
            <a:avLst/>
          </a:prstGeom>
        </p:spPr>
      </p:pic>
      <p:pic>
        <p:nvPicPr>
          <p:cNvPr id="20" name="IAV_Logo">
            <a:extLst>
              <a:ext uri="{FF2B5EF4-FFF2-40B4-BE49-F238E27FC236}">
                <a16:creationId xmlns:a16="http://schemas.microsoft.com/office/drawing/2014/main" id="{50DAB219-8AD2-42BC-9BBF-87F7082EE351}"/>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48337" y="4824263"/>
            <a:ext cx="2148511" cy="1188000"/>
          </a:xfrm>
          <a:prstGeom prst="rect">
            <a:avLst/>
          </a:prstGeom>
        </p:spPr>
      </p:pic>
      <p:sp>
        <p:nvSpPr>
          <p:cNvPr id="2" name="Titel 1">
            <a:extLst>
              <a:ext uri="{FF2B5EF4-FFF2-40B4-BE49-F238E27FC236}">
                <a16:creationId xmlns:a16="http://schemas.microsoft.com/office/drawing/2014/main" id="{56076F01-17EC-4724-B8CD-18FD44ECA277}"/>
              </a:ext>
            </a:extLst>
          </p:cNvPr>
          <p:cNvSpPr>
            <a:spLocks noGrp="1"/>
          </p:cNvSpPr>
          <p:nvPr>
            <p:ph type="title" hasCustomPrompt="1"/>
          </p:nvPr>
        </p:nvSpPr>
        <p:spPr bwMode="gray">
          <a:xfrm>
            <a:off x="539750" y="3376402"/>
            <a:ext cx="8280000" cy="403745"/>
          </a:xfrm>
        </p:spPr>
        <p:txBody>
          <a:bodyPr anchor="b">
            <a:spAutoFit/>
          </a:bodyPr>
          <a:lstStyle>
            <a:lvl1pPr>
              <a:lnSpc>
                <a:spcPct val="100000"/>
              </a:lnSpc>
              <a:defRPr sz="2600">
                <a:solidFill>
                  <a:srgbClr val="D3F5FF"/>
                </a:solidFill>
              </a:defRPr>
            </a:lvl1pPr>
          </a:lstStyle>
          <a:p>
            <a:r>
              <a:rPr lang="en-US"/>
              <a:t>Insert Presentation Title</a:t>
            </a:r>
            <a:endParaRPr lang="en-US" dirty="0"/>
          </a:p>
        </p:txBody>
      </p:sp>
      <p:sp>
        <p:nvSpPr>
          <p:cNvPr id="11" name="Fußzeilenplatzhalter 3">
            <a:extLst>
              <a:ext uri="{FF2B5EF4-FFF2-40B4-BE49-F238E27FC236}">
                <a16:creationId xmlns:a16="http://schemas.microsoft.com/office/drawing/2014/main" id="{2B9561BF-FEB5-4CA5-813F-2611C0CBE2D1}"/>
              </a:ext>
            </a:extLst>
          </p:cNvPr>
          <p:cNvSpPr>
            <a:spLocks noGrp="1"/>
          </p:cNvSpPr>
          <p:nvPr>
            <p:ph type="ftr" sz="quarter" idx="3"/>
          </p:nvPr>
        </p:nvSpPr>
        <p:spPr bwMode="gray">
          <a:xfrm>
            <a:off x="647676" y="6516432"/>
            <a:ext cx="288000" cy="36000"/>
          </a:xfrm>
          <a:prstGeom prst="rect">
            <a:avLst/>
          </a:prstGeom>
        </p:spPr>
        <p:txBody>
          <a:bodyPr vert="horz" lIns="0" tIns="0" rIns="0" bIns="0" rtlCol="0" anchor="ctr"/>
          <a:lstStyle>
            <a:lvl1pPr algn="l">
              <a:defRPr sz="100">
                <a:solidFill>
                  <a:srgbClr val="E6E6E6"/>
                </a:solidFill>
              </a:defRPr>
            </a:lvl1pPr>
          </a:lstStyle>
          <a:p>
            <a:r>
              <a:rPr lang="en-US"/>
              <a:t>IAV  MM/JJJJ  Abteilungskürzel  Namenskürzel  Status: Entwurf, vertraulich</a:t>
            </a:r>
            <a:endParaRPr lang="en-US" dirty="0"/>
          </a:p>
        </p:txBody>
      </p:sp>
      <p:sp>
        <p:nvSpPr>
          <p:cNvPr id="12" name="Foliennummernplatzhalter 4">
            <a:extLst>
              <a:ext uri="{FF2B5EF4-FFF2-40B4-BE49-F238E27FC236}">
                <a16:creationId xmlns:a16="http://schemas.microsoft.com/office/drawing/2014/main" id="{B849EDEA-24A2-4C2D-A4BF-FD512C50E419}"/>
              </a:ext>
            </a:extLst>
          </p:cNvPr>
          <p:cNvSpPr>
            <a:spLocks noGrp="1"/>
          </p:cNvSpPr>
          <p:nvPr>
            <p:ph type="sldNum" sz="quarter" idx="4"/>
          </p:nvPr>
        </p:nvSpPr>
        <p:spPr bwMode="gray">
          <a:xfrm>
            <a:off x="539664" y="6516455"/>
            <a:ext cx="72008" cy="36000"/>
          </a:xfrm>
          <a:prstGeom prst="rect">
            <a:avLst/>
          </a:prstGeom>
        </p:spPr>
        <p:txBody>
          <a:bodyPr vert="horz" lIns="0" tIns="0" rIns="0" bIns="0" rtlCol="0" anchor="ctr"/>
          <a:lstStyle>
            <a:lvl1pPr algn="l">
              <a:defRPr sz="100">
                <a:solidFill>
                  <a:srgbClr val="E6E6E6"/>
                </a:solidFill>
              </a:defRPr>
            </a:lvl1pPr>
          </a:lstStyle>
          <a:p>
            <a:fld id="{C651C7C4-31E4-E340-822E-DEA0EA75A835}" type="slidenum">
              <a:rPr lang="en-US" smtClean="0"/>
              <a:pPr/>
              <a:t>‹#›</a:t>
            </a:fld>
            <a:endParaRPr lang="en-US" dirty="0"/>
          </a:p>
        </p:txBody>
      </p:sp>
      <p:sp>
        <p:nvSpPr>
          <p:cNvPr id="8" name="Textplatzhalter 8">
            <a:extLst>
              <a:ext uri="{FF2B5EF4-FFF2-40B4-BE49-F238E27FC236}">
                <a16:creationId xmlns:a16="http://schemas.microsoft.com/office/drawing/2014/main" id="{B32981B4-3BC1-47D9-9ADF-F4F3B2058AF2}"/>
              </a:ext>
            </a:extLst>
          </p:cNvPr>
          <p:cNvSpPr>
            <a:spLocks noGrp="1" noChangeAspect="1"/>
          </p:cNvSpPr>
          <p:nvPr>
            <p:ph type="body" sz="quarter" idx="13" hasCustomPrompt="1"/>
          </p:nvPr>
        </p:nvSpPr>
        <p:spPr bwMode="gray">
          <a:xfrm>
            <a:off x="539750" y="3960813"/>
            <a:ext cx="8280400" cy="493277"/>
          </a:xfrm>
        </p:spPr>
        <p:txBody>
          <a:bodyPr>
            <a:spAutoFit/>
          </a:bodyPr>
          <a:lstStyle>
            <a:lvl1pPr marL="0" indent="0">
              <a:lnSpc>
                <a:spcPct val="120000"/>
              </a:lnSpc>
              <a:spcBef>
                <a:spcPts val="0"/>
              </a:spcBef>
              <a:spcAft>
                <a:spcPts val="0"/>
              </a:spcAft>
              <a:buNone/>
              <a:defRPr sz="1400">
                <a:solidFill>
                  <a:srgbClr val="FFFFFF"/>
                </a:solidFill>
              </a:defRPr>
            </a:lvl1pPr>
            <a:lvl2pPr marL="180000" indent="0">
              <a:buNone/>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rPr lang="en-US"/>
              <a:t>Subtitle</a:t>
            </a:r>
          </a:p>
          <a:p>
            <a:r>
              <a:rPr lang="en-US"/>
              <a:t>Name </a:t>
            </a:r>
            <a:r>
              <a:rPr lang="en-US" dirty="0"/>
              <a:t>Surname, Month YYYY</a:t>
            </a:r>
          </a:p>
        </p:txBody>
      </p:sp>
    </p:spTree>
    <p:extLst>
      <p:ext uri="{BB962C8B-B14F-4D97-AF65-F5344CB8AC3E}">
        <p14:creationId xmlns:p14="http://schemas.microsoft.com/office/powerpoint/2010/main" val="856243127"/>
      </p:ext>
    </p:extLst>
  </p:cSld>
  <p:clrMapOvr>
    <a:masterClrMapping/>
  </p:clrMapOvr>
  <p:extLst>
    <p:ext uri="{DCECCB84-F9BA-43D5-87BE-67443E8EF086}">
      <p15:sldGuideLst xmlns:p15="http://schemas.microsoft.com/office/powerpoint/2012/main">
        <p15:guide id="2" orient="horz" pos="2381" userDrawn="1">
          <p15:clr>
            <a:srgbClr val="FBAE40"/>
          </p15:clr>
        </p15:guide>
        <p15:guide id="3" pos="5556">
          <p15:clr>
            <a:srgbClr val="FBAE40"/>
          </p15:clr>
        </p15:guide>
        <p15:guide id="4" orient="horz" pos="249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icture 1">
    <p:bg>
      <p:bgPr>
        <a:solidFill>
          <a:schemeClr val="tx1"/>
        </a:solidFill>
        <a:effectLst/>
      </p:bgPr>
    </p:bg>
    <p:spTree>
      <p:nvGrpSpPr>
        <p:cNvPr id="1" name=""/>
        <p:cNvGrpSpPr/>
        <p:nvPr/>
      </p:nvGrpSpPr>
      <p:grpSpPr>
        <a:xfrm>
          <a:off x="0" y="0"/>
          <a:ext cx="0" cy="0"/>
          <a:chOff x="0" y="0"/>
          <a:chExt cx="0" cy="0"/>
        </a:xfrm>
      </p:grpSpPr>
      <p:pic>
        <p:nvPicPr>
          <p:cNvPr id="19" name="Bildplatzhalter 48">
            <a:extLst>
              <a:ext uri="{FF2B5EF4-FFF2-40B4-BE49-F238E27FC236}">
                <a16:creationId xmlns:a16="http://schemas.microsoft.com/office/drawing/2014/main" id="{6B601E17-8A59-4A30-A3C9-0755A73AA80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96" y="-273"/>
            <a:ext cx="11520884" cy="6480448"/>
          </a:xfrm>
          <a:prstGeom prst="rect">
            <a:avLst/>
          </a:prstGeom>
        </p:spPr>
      </p:pic>
      <p:pic>
        <p:nvPicPr>
          <p:cNvPr id="20" name="IAV_Logo">
            <a:extLst>
              <a:ext uri="{FF2B5EF4-FFF2-40B4-BE49-F238E27FC236}">
                <a16:creationId xmlns:a16="http://schemas.microsoft.com/office/drawing/2014/main" id="{50DAB219-8AD2-42BC-9BBF-87F7082EE351}"/>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48337" y="4824263"/>
            <a:ext cx="2148511" cy="1188000"/>
          </a:xfrm>
          <a:prstGeom prst="rect">
            <a:avLst/>
          </a:prstGeom>
        </p:spPr>
      </p:pic>
      <p:sp>
        <p:nvSpPr>
          <p:cNvPr id="2" name="Titel 1">
            <a:extLst>
              <a:ext uri="{FF2B5EF4-FFF2-40B4-BE49-F238E27FC236}">
                <a16:creationId xmlns:a16="http://schemas.microsoft.com/office/drawing/2014/main" id="{56076F01-17EC-4724-B8CD-18FD44ECA277}"/>
              </a:ext>
            </a:extLst>
          </p:cNvPr>
          <p:cNvSpPr>
            <a:spLocks noGrp="1"/>
          </p:cNvSpPr>
          <p:nvPr>
            <p:ph type="title" hasCustomPrompt="1"/>
          </p:nvPr>
        </p:nvSpPr>
        <p:spPr bwMode="gray">
          <a:xfrm>
            <a:off x="6840538" y="2296282"/>
            <a:ext cx="4140200" cy="403745"/>
          </a:xfrm>
        </p:spPr>
        <p:txBody>
          <a:bodyPr wrap="square" anchor="b">
            <a:spAutoFit/>
          </a:bodyPr>
          <a:lstStyle>
            <a:lvl1pPr>
              <a:lnSpc>
                <a:spcPct val="100000"/>
              </a:lnSpc>
              <a:defRPr sz="2600">
                <a:solidFill>
                  <a:srgbClr val="FFFFFF"/>
                </a:solidFill>
              </a:defRPr>
            </a:lvl1pPr>
          </a:lstStyle>
          <a:p>
            <a:r>
              <a:rPr lang="en-US" dirty="0"/>
              <a:t>Insert Presentation Title</a:t>
            </a:r>
          </a:p>
        </p:txBody>
      </p:sp>
      <p:sp>
        <p:nvSpPr>
          <p:cNvPr id="11" name="Bildplatzhalter 3">
            <a:extLst>
              <a:ext uri="{FF2B5EF4-FFF2-40B4-BE49-F238E27FC236}">
                <a16:creationId xmlns:a16="http://schemas.microsoft.com/office/drawing/2014/main" id="{F906D935-205A-46E0-B7F7-AE8CD546FB1D}"/>
              </a:ext>
            </a:extLst>
          </p:cNvPr>
          <p:cNvSpPr>
            <a:spLocks noGrp="1"/>
          </p:cNvSpPr>
          <p:nvPr>
            <p:ph type="pic" sz="quarter" idx="13" hasCustomPrompt="1"/>
          </p:nvPr>
        </p:nvSpPr>
        <p:spPr>
          <a:xfrm>
            <a:off x="0" y="0"/>
            <a:ext cx="6480175" cy="6480175"/>
          </a:xfrm>
        </p:spPr>
        <p:txBody>
          <a:bodyPr anchor="ctr"/>
          <a:lstStyle>
            <a:lvl1pPr marL="0" indent="0" algn="ctr">
              <a:buNone/>
              <a:defRPr>
                <a:solidFill>
                  <a:schemeClr val="accent6"/>
                </a:solidFill>
              </a:defRPr>
            </a:lvl1pPr>
          </a:lstStyle>
          <a:p>
            <a:r>
              <a:rPr lang="en-US" dirty="0"/>
              <a:t>Insert picture</a:t>
            </a:r>
          </a:p>
        </p:txBody>
      </p:sp>
      <p:sp>
        <p:nvSpPr>
          <p:cNvPr id="10" name="Fußzeilenplatzhalter 3">
            <a:extLst>
              <a:ext uri="{FF2B5EF4-FFF2-40B4-BE49-F238E27FC236}">
                <a16:creationId xmlns:a16="http://schemas.microsoft.com/office/drawing/2014/main" id="{6452B407-9BA3-43DF-B838-3AB187064977}"/>
              </a:ext>
            </a:extLst>
          </p:cNvPr>
          <p:cNvSpPr>
            <a:spLocks noGrp="1"/>
          </p:cNvSpPr>
          <p:nvPr>
            <p:ph type="ftr" sz="quarter" idx="3"/>
          </p:nvPr>
        </p:nvSpPr>
        <p:spPr bwMode="gray">
          <a:xfrm>
            <a:off x="647676" y="6516432"/>
            <a:ext cx="288000" cy="36000"/>
          </a:xfrm>
          <a:prstGeom prst="rect">
            <a:avLst/>
          </a:prstGeom>
        </p:spPr>
        <p:txBody>
          <a:bodyPr vert="horz" lIns="0" tIns="0" rIns="0" bIns="0" rtlCol="0" anchor="ctr"/>
          <a:lstStyle>
            <a:lvl1pPr algn="l">
              <a:defRPr sz="100">
                <a:solidFill>
                  <a:srgbClr val="E6E6E6"/>
                </a:solidFill>
              </a:defRPr>
            </a:lvl1pPr>
          </a:lstStyle>
          <a:p>
            <a:r>
              <a:rPr lang="en-US"/>
              <a:t>IAV  MM/JJJJ  Abteilungskürzel  Namenskürzel  Status: Entwurf, vertraulich</a:t>
            </a:r>
            <a:endParaRPr lang="en-US" dirty="0"/>
          </a:p>
        </p:txBody>
      </p:sp>
      <p:sp>
        <p:nvSpPr>
          <p:cNvPr id="14" name="Foliennummernplatzhalter 4">
            <a:extLst>
              <a:ext uri="{FF2B5EF4-FFF2-40B4-BE49-F238E27FC236}">
                <a16:creationId xmlns:a16="http://schemas.microsoft.com/office/drawing/2014/main" id="{6F00AF9B-1F52-4E4D-ABDB-C06334A65582}"/>
              </a:ext>
            </a:extLst>
          </p:cNvPr>
          <p:cNvSpPr>
            <a:spLocks noGrp="1"/>
          </p:cNvSpPr>
          <p:nvPr>
            <p:ph type="sldNum" sz="quarter" idx="4"/>
          </p:nvPr>
        </p:nvSpPr>
        <p:spPr bwMode="gray">
          <a:xfrm>
            <a:off x="539664" y="6516455"/>
            <a:ext cx="72008" cy="36000"/>
          </a:xfrm>
          <a:prstGeom prst="rect">
            <a:avLst/>
          </a:prstGeom>
        </p:spPr>
        <p:txBody>
          <a:bodyPr vert="horz" lIns="0" tIns="0" rIns="0" bIns="0" rtlCol="0" anchor="ctr"/>
          <a:lstStyle>
            <a:lvl1pPr algn="l">
              <a:defRPr sz="100">
                <a:solidFill>
                  <a:srgbClr val="E6E6E6"/>
                </a:solidFill>
              </a:defRPr>
            </a:lvl1pPr>
          </a:lstStyle>
          <a:p>
            <a:fld id="{C651C7C4-31E4-E340-822E-DEA0EA75A835}" type="slidenum">
              <a:rPr lang="en-US" smtClean="0"/>
              <a:pPr/>
              <a:t>‹#›</a:t>
            </a:fld>
            <a:endParaRPr lang="en-US" dirty="0"/>
          </a:p>
        </p:txBody>
      </p:sp>
      <p:sp>
        <p:nvSpPr>
          <p:cNvPr id="13" name="Textplatzhalter 8">
            <a:extLst>
              <a:ext uri="{FF2B5EF4-FFF2-40B4-BE49-F238E27FC236}">
                <a16:creationId xmlns:a16="http://schemas.microsoft.com/office/drawing/2014/main" id="{D7207042-88FC-4C4A-8B3D-30F79C7453F4}"/>
              </a:ext>
            </a:extLst>
          </p:cNvPr>
          <p:cNvSpPr>
            <a:spLocks noGrp="1"/>
          </p:cNvSpPr>
          <p:nvPr>
            <p:ph type="body" sz="quarter" idx="12" hasCustomPrompt="1"/>
          </p:nvPr>
        </p:nvSpPr>
        <p:spPr bwMode="gray">
          <a:xfrm>
            <a:off x="6840538" y="2880047"/>
            <a:ext cx="3960812" cy="493277"/>
          </a:xfrm>
        </p:spPr>
        <p:txBody>
          <a:bodyPr wrap="square">
            <a:spAutoFit/>
          </a:bodyPr>
          <a:lstStyle>
            <a:lvl1pPr marL="0" indent="0">
              <a:lnSpc>
                <a:spcPct val="120000"/>
              </a:lnSpc>
              <a:spcBef>
                <a:spcPts val="0"/>
              </a:spcBef>
              <a:spcAft>
                <a:spcPts val="0"/>
              </a:spcAft>
              <a:buNone/>
              <a:defRPr sz="1400">
                <a:solidFill>
                  <a:srgbClr val="FFFFFF"/>
                </a:solidFill>
              </a:defRPr>
            </a:lvl1pPr>
            <a:lvl2pPr marL="180000" indent="0">
              <a:buNone/>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rPr lang="en-US"/>
              <a:t>Subtitle</a:t>
            </a:r>
          </a:p>
          <a:p>
            <a:r>
              <a:rPr lang="en-US"/>
              <a:t>Name </a:t>
            </a:r>
            <a:r>
              <a:rPr lang="en-US" dirty="0"/>
              <a:t>Surname, Month YYYY</a:t>
            </a:r>
          </a:p>
        </p:txBody>
      </p:sp>
    </p:spTree>
    <p:extLst>
      <p:ext uri="{BB962C8B-B14F-4D97-AF65-F5344CB8AC3E}">
        <p14:creationId xmlns:p14="http://schemas.microsoft.com/office/powerpoint/2010/main" val="720775299"/>
      </p:ext>
    </p:extLst>
  </p:cSld>
  <p:clrMapOvr>
    <a:masterClrMapping/>
  </p:clrMapOvr>
  <p:extLst>
    <p:ext uri="{DCECCB84-F9BA-43D5-87BE-67443E8EF086}">
      <p15:sldGuideLst xmlns:p15="http://schemas.microsoft.com/office/powerpoint/2012/main">
        <p15:guide id="2" orient="horz" pos="1814" userDrawn="1">
          <p15:clr>
            <a:srgbClr val="FBAE40"/>
          </p15:clr>
        </p15:guide>
        <p15:guide id="4" orient="horz" pos="1701" userDrawn="1">
          <p15:clr>
            <a:srgbClr val="FBAE40"/>
          </p15:clr>
        </p15:guide>
        <p15:guide id="5" pos="4082" userDrawn="1">
          <p15:clr>
            <a:srgbClr val="FBAE40"/>
          </p15:clr>
        </p15:guide>
        <p15:guide id="6" pos="430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icture 2">
    <p:bg>
      <p:bgPr>
        <a:solidFill>
          <a:schemeClr val="tx1"/>
        </a:solidFill>
        <a:effectLst/>
      </p:bgPr>
    </p:bg>
    <p:spTree>
      <p:nvGrpSpPr>
        <p:cNvPr id="1" name=""/>
        <p:cNvGrpSpPr/>
        <p:nvPr/>
      </p:nvGrpSpPr>
      <p:grpSpPr>
        <a:xfrm>
          <a:off x="0" y="0"/>
          <a:ext cx="0" cy="0"/>
          <a:chOff x="0" y="0"/>
          <a:chExt cx="0" cy="0"/>
        </a:xfrm>
      </p:grpSpPr>
      <p:pic>
        <p:nvPicPr>
          <p:cNvPr id="19" name="Bildplatzhalter 48">
            <a:extLst>
              <a:ext uri="{FF2B5EF4-FFF2-40B4-BE49-F238E27FC236}">
                <a16:creationId xmlns:a16="http://schemas.microsoft.com/office/drawing/2014/main" id="{6B601E17-8A59-4A30-A3C9-0755A73AA80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2" y="-273"/>
            <a:ext cx="11520796" cy="6480448"/>
          </a:xfrm>
          <a:prstGeom prst="rect">
            <a:avLst/>
          </a:prstGeom>
        </p:spPr>
      </p:pic>
      <p:pic>
        <p:nvPicPr>
          <p:cNvPr id="20" name="IAV_Logo">
            <a:extLst>
              <a:ext uri="{FF2B5EF4-FFF2-40B4-BE49-F238E27FC236}">
                <a16:creationId xmlns:a16="http://schemas.microsoft.com/office/drawing/2014/main" id="{50DAB219-8AD2-42BC-9BBF-87F7082EE351}"/>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48337" y="4824263"/>
            <a:ext cx="2148511" cy="1188000"/>
          </a:xfrm>
          <a:prstGeom prst="rect">
            <a:avLst/>
          </a:prstGeom>
        </p:spPr>
      </p:pic>
      <p:sp>
        <p:nvSpPr>
          <p:cNvPr id="2" name="Titel 1">
            <a:extLst>
              <a:ext uri="{FF2B5EF4-FFF2-40B4-BE49-F238E27FC236}">
                <a16:creationId xmlns:a16="http://schemas.microsoft.com/office/drawing/2014/main" id="{56076F01-17EC-4724-B8CD-18FD44ECA277}"/>
              </a:ext>
            </a:extLst>
          </p:cNvPr>
          <p:cNvSpPr>
            <a:spLocks noGrp="1"/>
          </p:cNvSpPr>
          <p:nvPr>
            <p:ph type="title" hasCustomPrompt="1"/>
          </p:nvPr>
        </p:nvSpPr>
        <p:spPr>
          <a:xfrm>
            <a:off x="6840538" y="2296282"/>
            <a:ext cx="4140200" cy="403745"/>
          </a:xfrm>
        </p:spPr>
        <p:txBody>
          <a:bodyPr wrap="square" anchor="b">
            <a:spAutoFit/>
          </a:bodyPr>
          <a:lstStyle>
            <a:lvl1pPr>
              <a:lnSpc>
                <a:spcPct val="100000"/>
              </a:lnSpc>
              <a:defRPr sz="2600">
                <a:solidFill>
                  <a:schemeClr val="accent3"/>
                </a:solidFill>
              </a:defRPr>
            </a:lvl1pPr>
          </a:lstStyle>
          <a:p>
            <a:r>
              <a:rPr lang="en-US" dirty="0"/>
              <a:t>Insert Presentation Title</a:t>
            </a:r>
          </a:p>
        </p:txBody>
      </p:sp>
      <p:sp>
        <p:nvSpPr>
          <p:cNvPr id="4" name="Bildplatzhalter 3">
            <a:extLst>
              <a:ext uri="{FF2B5EF4-FFF2-40B4-BE49-F238E27FC236}">
                <a16:creationId xmlns:a16="http://schemas.microsoft.com/office/drawing/2014/main" id="{760414FB-02DF-445C-8438-D6E81B5F1690}"/>
              </a:ext>
            </a:extLst>
          </p:cNvPr>
          <p:cNvSpPr>
            <a:spLocks noGrp="1"/>
          </p:cNvSpPr>
          <p:nvPr>
            <p:ph type="pic" sz="quarter" idx="13" hasCustomPrompt="1"/>
          </p:nvPr>
        </p:nvSpPr>
        <p:spPr>
          <a:xfrm>
            <a:off x="0" y="0"/>
            <a:ext cx="6480175" cy="6480175"/>
          </a:xfrm>
        </p:spPr>
        <p:txBody>
          <a:bodyPr anchor="ctr"/>
          <a:lstStyle>
            <a:lvl1pPr marL="0" indent="0" algn="ctr">
              <a:buNone/>
              <a:defRPr>
                <a:solidFill>
                  <a:schemeClr val="accent6"/>
                </a:solidFill>
              </a:defRPr>
            </a:lvl1pPr>
          </a:lstStyle>
          <a:p>
            <a:r>
              <a:rPr lang="en-US"/>
              <a:t>Insert picture</a:t>
            </a:r>
            <a:endParaRPr lang="en-US" dirty="0"/>
          </a:p>
        </p:txBody>
      </p:sp>
      <p:sp>
        <p:nvSpPr>
          <p:cNvPr id="10" name="Fußzeilenplatzhalter 3">
            <a:extLst>
              <a:ext uri="{FF2B5EF4-FFF2-40B4-BE49-F238E27FC236}">
                <a16:creationId xmlns:a16="http://schemas.microsoft.com/office/drawing/2014/main" id="{80DD142A-4252-487F-A3DD-82A7F3A7AD2F}"/>
              </a:ext>
            </a:extLst>
          </p:cNvPr>
          <p:cNvSpPr>
            <a:spLocks noGrp="1"/>
          </p:cNvSpPr>
          <p:nvPr>
            <p:ph type="ftr" sz="quarter" idx="3"/>
          </p:nvPr>
        </p:nvSpPr>
        <p:spPr bwMode="gray">
          <a:xfrm>
            <a:off x="647676" y="6516432"/>
            <a:ext cx="288000" cy="36000"/>
          </a:xfrm>
          <a:prstGeom prst="rect">
            <a:avLst/>
          </a:prstGeom>
        </p:spPr>
        <p:txBody>
          <a:bodyPr vert="horz" lIns="0" tIns="0" rIns="0" bIns="0" rtlCol="0" anchor="ctr"/>
          <a:lstStyle>
            <a:lvl1pPr algn="l">
              <a:defRPr sz="100">
                <a:solidFill>
                  <a:srgbClr val="E6E6E6"/>
                </a:solidFill>
              </a:defRPr>
            </a:lvl1pPr>
          </a:lstStyle>
          <a:p>
            <a:r>
              <a:rPr lang="en-US"/>
              <a:t>IAV  MM/JJJJ  Abteilungskürzel  Namenskürzel  Status: Entwurf, vertraulich</a:t>
            </a:r>
            <a:endParaRPr lang="en-US" dirty="0"/>
          </a:p>
        </p:txBody>
      </p:sp>
      <p:sp>
        <p:nvSpPr>
          <p:cNvPr id="11" name="Foliennummernplatzhalter 4">
            <a:extLst>
              <a:ext uri="{FF2B5EF4-FFF2-40B4-BE49-F238E27FC236}">
                <a16:creationId xmlns:a16="http://schemas.microsoft.com/office/drawing/2014/main" id="{F17809BC-128B-4C78-873A-1EA2DD3BA709}"/>
              </a:ext>
            </a:extLst>
          </p:cNvPr>
          <p:cNvSpPr>
            <a:spLocks noGrp="1"/>
          </p:cNvSpPr>
          <p:nvPr>
            <p:ph type="sldNum" sz="quarter" idx="4"/>
          </p:nvPr>
        </p:nvSpPr>
        <p:spPr bwMode="gray">
          <a:xfrm>
            <a:off x="539664" y="6516455"/>
            <a:ext cx="72008" cy="36000"/>
          </a:xfrm>
          <a:prstGeom prst="rect">
            <a:avLst/>
          </a:prstGeom>
        </p:spPr>
        <p:txBody>
          <a:bodyPr vert="horz" lIns="0" tIns="0" rIns="0" bIns="0" rtlCol="0" anchor="ctr"/>
          <a:lstStyle>
            <a:lvl1pPr algn="l">
              <a:defRPr sz="100">
                <a:solidFill>
                  <a:srgbClr val="E6E6E6"/>
                </a:solidFill>
              </a:defRPr>
            </a:lvl1pPr>
          </a:lstStyle>
          <a:p>
            <a:fld id="{C651C7C4-31E4-E340-822E-DEA0EA75A835}" type="slidenum">
              <a:rPr lang="en-US" smtClean="0"/>
              <a:pPr/>
              <a:t>‹#›</a:t>
            </a:fld>
            <a:endParaRPr lang="en-US" dirty="0"/>
          </a:p>
        </p:txBody>
      </p:sp>
      <p:sp>
        <p:nvSpPr>
          <p:cNvPr id="12" name="Textplatzhalter 8">
            <a:extLst>
              <a:ext uri="{FF2B5EF4-FFF2-40B4-BE49-F238E27FC236}">
                <a16:creationId xmlns:a16="http://schemas.microsoft.com/office/drawing/2014/main" id="{C044AB96-AD92-43A5-8A53-41AB5D56E6FD}"/>
              </a:ext>
            </a:extLst>
          </p:cNvPr>
          <p:cNvSpPr>
            <a:spLocks noGrp="1"/>
          </p:cNvSpPr>
          <p:nvPr>
            <p:ph type="body" sz="quarter" idx="12" hasCustomPrompt="1"/>
          </p:nvPr>
        </p:nvSpPr>
        <p:spPr bwMode="gray">
          <a:xfrm>
            <a:off x="6840538" y="2880047"/>
            <a:ext cx="3960812" cy="493277"/>
          </a:xfrm>
        </p:spPr>
        <p:txBody>
          <a:bodyPr wrap="square">
            <a:spAutoFit/>
          </a:bodyPr>
          <a:lstStyle>
            <a:lvl1pPr marL="0" indent="0">
              <a:lnSpc>
                <a:spcPct val="120000"/>
              </a:lnSpc>
              <a:spcBef>
                <a:spcPts val="0"/>
              </a:spcBef>
              <a:spcAft>
                <a:spcPts val="0"/>
              </a:spcAft>
              <a:buNone/>
              <a:defRPr sz="1400">
                <a:solidFill>
                  <a:srgbClr val="1446EB"/>
                </a:solidFill>
              </a:defRPr>
            </a:lvl1pPr>
            <a:lvl2pPr marL="180000" indent="0">
              <a:buNone/>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rPr lang="en-US"/>
              <a:t>Subtitle</a:t>
            </a:r>
          </a:p>
          <a:p>
            <a:r>
              <a:rPr lang="en-US"/>
              <a:t>Name </a:t>
            </a:r>
            <a:r>
              <a:rPr lang="en-US" dirty="0"/>
              <a:t>Surname, Month YYYY</a:t>
            </a:r>
          </a:p>
        </p:txBody>
      </p:sp>
    </p:spTree>
    <p:extLst>
      <p:ext uri="{BB962C8B-B14F-4D97-AF65-F5344CB8AC3E}">
        <p14:creationId xmlns:p14="http://schemas.microsoft.com/office/powerpoint/2010/main" val="2134883428"/>
      </p:ext>
    </p:extLst>
  </p:cSld>
  <p:clrMapOvr>
    <a:masterClrMapping/>
  </p:clrMapOvr>
  <p:extLst>
    <p:ext uri="{DCECCB84-F9BA-43D5-87BE-67443E8EF086}">
      <p15:sldGuideLst xmlns:p15="http://schemas.microsoft.com/office/powerpoint/2012/main">
        <p15:guide id="2" orient="horz" pos="1814">
          <p15:clr>
            <a:srgbClr val="FBAE40"/>
          </p15:clr>
        </p15:guide>
        <p15:guide id="4" orient="horz" pos="1701">
          <p15:clr>
            <a:srgbClr val="FBAE40"/>
          </p15:clr>
        </p15:guide>
        <p15:guide id="5" pos="4082">
          <p15:clr>
            <a:srgbClr val="FBAE40"/>
          </p15:clr>
        </p15:guide>
        <p15:guide id="6" pos="430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39750" y="359767"/>
            <a:ext cx="10440988" cy="361875"/>
          </a:xfrm>
        </p:spPr>
        <p:txBody>
          <a:bodyPr vert="horz" wrap="square" lIns="0" tIns="3600" rIns="0" bIns="0" rtlCol="0" anchor="t" anchorCtr="0">
            <a:spAutoFit/>
          </a:bodyPr>
          <a:lstStyle>
            <a:lvl1pPr>
              <a:defRPr lang="de-DE" dirty="0"/>
            </a:lvl1pPr>
          </a:lstStyle>
          <a:p>
            <a:pPr lvl="0"/>
            <a:r>
              <a:rPr lang="en-US"/>
              <a:t>Insert Heading (two lines max)</a:t>
            </a:r>
            <a:endParaRPr lang="en-US" dirty="0"/>
          </a:p>
        </p:txBody>
      </p:sp>
      <p:sp>
        <p:nvSpPr>
          <p:cNvPr id="3" name="Fußzeilenplatzhalter 2"/>
          <p:cNvSpPr>
            <a:spLocks noGrp="1"/>
          </p:cNvSpPr>
          <p:nvPr>
            <p:ph type="ftr" sz="quarter" idx="10"/>
          </p:nvPr>
        </p:nvSpPr>
        <p:spPr bwMode="gray"/>
        <p:txBody>
          <a:bodyPr/>
          <a:lstStyle/>
          <a:p>
            <a:r>
              <a:rPr lang="en-US"/>
              <a:t>IAV  MM/YYYY  Department Code  Initials  Status: draft, confidential</a:t>
            </a:r>
            <a:endParaRPr lang="en-US" dirty="0"/>
          </a:p>
        </p:txBody>
      </p:sp>
      <p:sp>
        <p:nvSpPr>
          <p:cNvPr id="4" name="Foliennummernplatzhalter 3"/>
          <p:cNvSpPr>
            <a:spLocks noGrp="1"/>
          </p:cNvSpPr>
          <p:nvPr>
            <p:ph type="sldNum" sz="quarter" idx="11"/>
          </p:nvPr>
        </p:nvSpPr>
        <p:spPr bwMode="gray"/>
        <p:txBody>
          <a:bodyPr/>
          <a:lstStyle/>
          <a:p>
            <a:fld id="{DD6C52D8-AF7F-4297-9A35-2617B7FF1801}" type="slidenum">
              <a:rPr lang="en-US" smtClean="0"/>
              <a:pPr/>
              <a:t>‹#›</a:t>
            </a:fld>
            <a:endParaRPr lang="en-US" dirty="0"/>
          </a:p>
        </p:txBody>
      </p:sp>
    </p:spTree>
    <p:extLst>
      <p:ext uri="{BB962C8B-B14F-4D97-AF65-F5344CB8AC3E}">
        <p14:creationId xmlns:p14="http://schemas.microsoft.com/office/powerpoint/2010/main" val="1065716413"/>
      </p:ext>
    </p:extLst>
  </p:cSld>
  <p:clrMapOvr>
    <a:masterClrMapping/>
  </p:clrMapOvr>
  <p:extLst>
    <p:ext uri="{DCECCB84-F9BA-43D5-87BE-67443E8EF086}">
      <p15:sldGuideLst xmlns:p15="http://schemas.microsoft.com/office/powerpoint/2012/main">
        <p15:guide id="7" pos="3742" userDrawn="1">
          <p15:clr>
            <a:srgbClr val="FBAE40"/>
          </p15:clr>
        </p15:guide>
        <p15:guide id="8" pos="3515" userDrawn="1">
          <p15:clr>
            <a:srgbClr val="FBAE40"/>
          </p15:clr>
        </p15:guide>
        <p15:guide id="9" pos="2608" userDrawn="1">
          <p15:clr>
            <a:srgbClr val="FBAE40"/>
          </p15:clr>
        </p15:guide>
        <p15:guide id="10" pos="2381" userDrawn="1">
          <p15:clr>
            <a:srgbClr val="FBAE40"/>
          </p15:clr>
        </p15:guide>
        <p15:guide id="11" pos="4876" userDrawn="1">
          <p15:clr>
            <a:srgbClr val="FBAE40"/>
          </p15:clr>
        </p15:guide>
        <p15:guide id="12" pos="464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64DD43-E910-4880-834F-73E0C54B079A}"/>
              </a:ext>
            </a:extLst>
          </p:cNvPr>
          <p:cNvSpPr>
            <a:spLocks noGrp="1"/>
          </p:cNvSpPr>
          <p:nvPr>
            <p:ph type="title" hasCustomPrompt="1"/>
          </p:nvPr>
        </p:nvSpPr>
        <p:spPr/>
        <p:txBody>
          <a:bodyPr/>
          <a:lstStyle/>
          <a:p>
            <a:r>
              <a:rPr lang="en-US" dirty="0"/>
              <a:t>Insert Heading (two lines max)</a:t>
            </a:r>
            <a:endParaRPr lang="de-DE" dirty="0"/>
          </a:p>
        </p:txBody>
      </p:sp>
      <p:sp>
        <p:nvSpPr>
          <p:cNvPr id="6" name="Inhaltsplatzhalter 5">
            <a:extLst>
              <a:ext uri="{FF2B5EF4-FFF2-40B4-BE49-F238E27FC236}">
                <a16:creationId xmlns:a16="http://schemas.microsoft.com/office/drawing/2014/main" id="{B421926F-2EB1-C877-20AA-E5F4D23571FD}"/>
              </a:ext>
            </a:extLst>
          </p:cNvPr>
          <p:cNvSpPr>
            <a:spLocks noGrp="1"/>
          </p:cNvSpPr>
          <p:nvPr>
            <p:ph sz="quarter" idx="12" hasCustomPrompt="1"/>
          </p:nvPr>
        </p:nvSpPr>
        <p:spPr>
          <a:xfrm>
            <a:off x="539750" y="1295401"/>
            <a:ext cx="5040886" cy="4537074"/>
          </a:xfrm>
        </p:spPr>
        <p:txBody>
          <a:bodyPr/>
          <a:lstStyle>
            <a:lvl1pPr>
              <a:defRPr/>
            </a:lvl1pPr>
            <a:lvl2pPr>
              <a:defRPr/>
            </a:lvl2pPr>
            <a:lvl3pPr>
              <a:defRPr/>
            </a:lvl3pPr>
            <a:lvl4pPr>
              <a:defRPr/>
            </a:lvl4pPr>
            <a:lvl5pPr>
              <a:defRPr/>
            </a:lvl5pPr>
          </a:lstStyle>
          <a:p>
            <a:pPr lvl="0"/>
            <a:r>
              <a:rPr lang="en-US"/>
              <a:t>First level</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Inhaltsplatzhalter 7">
            <a:extLst>
              <a:ext uri="{FF2B5EF4-FFF2-40B4-BE49-F238E27FC236}">
                <a16:creationId xmlns:a16="http://schemas.microsoft.com/office/drawing/2014/main" id="{0FDBB940-6E97-8B7D-AF9F-663504423369}"/>
              </a:ext>
            </a:extLst>
          </p:cNvPr>
          <p:cNvSpPr>
            <a:spLocks noGrp="1"/>
          </p:cNvSpPr>
          <p:nvPr>
            <p:ph sz="quarter" idx="13" hasCustomPrompt="1"/>
          </p:nvPr>
        </p:nvSpPr>
        <p:spPr>
          <a:xfrm>
            <a:off x="5940424" y="1295400"/>
            <a:ext cx="5040313" cy="4537075"/>
          </a:xfrm>
        </p:spPr>
        <p:txBody>
          <a:bodyPr/>
          <a:lstStyle/>
          <a:p>
            <a:pPr lvl="0"/>
            <a:r>
              <a:rPr lang="en-US"/>
              <a:t>First level</a:t>
            </a:r>
          </a:p>
          <a:p>
            <a:pPr lvl="1"/>
            <a:r>
              <a:rPr lang="en-US"/>
              <a:t>Second </a:t>
            </a:r>
            <a:r>
              <a:rPr lang="en-US" dirty="0"/>
              <a:t>level</a:t>
            </a:r>
          </a:p>
          <a:p>
            <a:pPr lvl="2"/>
            <a:r>
              <a:rPr lang="en-US" dirty="0"/>
              <a:t>Third level</a:t>
            </a:r>
          </a:p>
          <a:p>
            <a:pPr lvl="3"/>
            <a:r>
              <a:rPr lang="en-US" dirty="0"/>
              <a:t>Fourth level</a:t>
            </a:r>
          </a:p>
          <a:p>
            <a:pPr lvl="4"/>
            <a:r>
              <a:rPr lang="en-US" dirty="0"/>
              <a:t>Fifth level</a:t>
            </a:r>
          </a:p>
        </p:txBody>
      </p:sp>
      <p:sp>
        <p:nvSpPr>
          <p:cNvPr id="9" name="Fußzeilenplatzhalter 3">
            <a:extLst>
              <a:ext uri="{FF2B5EF4-FFF2-40B4-BE49-F238E27FC236}">
                <a16:creationId xmlns:a16="http://schemas.microsoft.com/office/drawing/2014/main" id="{8B86E73B-F9A7-5386-74EA-107A4535E9BF}"/>
              </a:ext>
            </a:extLst>
          </p:cNvPr>
          <p:cNvSpPr>
            <a:spLocks noGrp="1"/>
          </p:cNvSpPr>
          <p:nvPr>
            <p:ph type="ftr" sz="quarter" idx="3"/>
          </p:nvPr>
        </p:nvSpPr>
        <p:spPr bwMode="gray">
          <a:xfrm>
            <a:off x="972123" y="6048375"/>
            <a:ext cx="4608513" cy="179364"/>
          </a:xfrm>
          <a:prstGeom prst="rect">
            <a:avLst/>
          </a:prstGeom>
        </p:spPr>
        <p:txBody>
          <a:bodyPr vert="horz" wrap="none" lIns="0" tIns="0" rIns="0" bIns="0" rtlCol="0" anchor="ctr"/>
          <a:lstStyle>
            <a:lvl1pPr algn="l">
              <a:defRPr sz="700">
                <a:solidFill>
                  <a:schemeClr val="tx1"/>
                </a:solidFill>
              </a:defRPr>
            </a:lvl1pPr>
          </a:lstStyle>
          <a:p>
            <a:r>
              <a:rPr lang="en-US"/>
              <a:t>IAV  MM/YYYY  Department Code  Initials  Status: draft, confidential</a:t>
            </a:r>
            <a:endParaRPr lang="en-US" dirty="0"/>
          </a:p>
        </p:txBody>
      </p:sp>
      <p:sp>
        <p:nvSpPr>
          <p:cNvPr id="10" name="Foliennummernplatzhalter 4">
            <a:extLst>
              <a:ext uri="{FF2B5EF4-FFF2-40B4-BE49-F238E27FC236}">
                <a16:creationId xmlns:a16="http://schemas.microsoft.com/office/drawing/2014/main" id="{498794BA-817E-B478-097E-6C68EE007B00}"/>
              </a:ext>
            </a:extLst>
          </p:cNvPr>
          <p:cNvSpPr>
            <a:spLocks noGrp="1"/>
          </p:cNvSpPr>
          <p:nvPr>
            <p:ph type="sldNum" sz="quarter" idx="4"/>
          </p:nvPr>
        </p:nvSpPr>
        <p:spPr bwMode="gray">
          <a:xfrm>
            <a:off x="539664" y="6048399"/>
            <a:ext cx="360000" cy="179364"/>
          </a:xfrm>
          <a:prstGeom prst="rect">
            <a:avLst/>
          </a:prstGeom>
        </p:spPr>
        <p:txBody>
          <a:bodyPr vert="horz" wrap="none" lIns="0" tIns="0" rIns="0" bIns="0" rtlCol="0" anchor="ctr"/>
          <a:lstStyle>
            <a:lvl1pPr algn="l">
              <a:defRPr sz="700">
                <a:solidFill>
                  <a:schemeClr val="tx1"/>
                </a:solidFill>
              </a:defRPr>
            </a:lvl1pPr>
          </a:lstStyle>
          <a:p>
            <a:fld id="{C651C7C4-31E4-E340-822E-DEA0EA75A835}" type="slidenum">
              <a:rPr lang="en-US" smtClean="0"/>
              <a:pPr/>
              <a:t>‹#›</a:t>
            </a:fld>
            <a:endParaRPr lang="en-US" dirty="0"/>
          </a:p>
        </p:txBody>
      </p:sp>
    </p:spTree>
    <p:extLst>
      <p:ext uri="{BB962C8B-B14F-4D97-AF65-F5344CB8AC3E}">
        <p14:creationId xmlns:p14="http://schemas.microsoft.com/office/powerpoint/2010/main" val="2908424033"/>
      </p:ext>
    </p:extLst>
  </p:cSld>
  <p:clrMapOvr>
    <a:masterClrMapping/>
  </p:clrMapOvr>
  <p:extLst>
    <p:ext uri="{DCECCB84-F9BA-43D5-87BE-67443E8EF086}">
      <p15:sldGuideLst xmlns:p15="http://schemas.microsoft.com/office/powerpoint/2012/main">
        <p15:guide id="1" pos="3515">
          <p15:clr>
            <a:srgbClr val="FBAE40"/>
          </p15:clr>
        </p15:guide>
        <p15:guide id="2" pos="374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D82473-2EB6-4C66-A028-07FE06313204}"/>
              </a:ext>
            </a:extLst>
          </p:cNvPr>
          <p:cNvSpPr>
            <a:spLocks noGrp="1"/>
          </p:cNvSpPr>
          <p:nvPr>
            <p:ph type="title" hasCustomPrompt="1"/>
          </p:nvPr>
        </p:nvSpPr>
        <p:spPr>
          <a:xfrm>
            <a:off x="539664" y="359767"/>
            <a:ext cx="10441074" cy="362708"/>
          </a:xfrm>
        </p:spPr>
        <p:txBody>
          <a:bodyPr/>
          <a:lstStyle>
            <a:lvl1pPr>
              <a:defRPr/>
            </a:lvl1pPr>
          </a:lstStyle>
          <a:p>
            <a:r>
              <a:rPr lang="en-US" dirty="0"/>
              <a:t>Insert Heading (two lines max)</a:t>
            </a:r>
          </a:p>
        </p:txBody>
      </p:sp>
      <p:sp>
        <p:nvSpPr>
          <p:cNvPr id="3" name="Fußzeilenplatzhalter 2">
            <a:extLst>
              <a:ext uri="{FF2B5EF4-FFF2-40B4-BE49-F238E27FC236}">
                <a16:creationId xmlns:a16="http://schemas.microsoft.com/office/drawing/2014/main" id="{87EBDFBA-5C9C-4F2E-AD48-7F5032FDCB08}"/>
              </a:ext>
            </a:extLst>
          </p:cNvPr>
          <p:cNvSpPr>
            <a:spLocks noGrp="1"/>
          </p:cNvSpPr>
          <p:nvPr>
            <p:ph type="ftr" sz="quarter" idx="10"/>
          </p:nvPr>
        </p:nvSpPr>
        <p:spPr bwMode="gray"/>
        <p:txBody>
          <a:bodyPr/>
          <a:lstStyle>
            <a:lvl1pPr algn="l">
              <a:defRPr sz="700"/>
            </a:lvl1pPr>
          </a:lstStyle>
          <a:p>
            <a:r>
              <a:rPr lang="en-US"/>
              <a:t>IAV  MM/YYYY  Department Code  Initials  Status: draft, confidential</a:t>
            </a:r>
            <a:endParaRPr lang="en-US" dirty="0"/>
          </a:p>
        </p:txBody>
      </p:sp>
      <p:sp>
        <p:nvSpPr>
          <p:cNvPr id="4" name="Foliennummernplatzhalter 3">
            <a:extLst>
              <a:ext uri="{FF2B5EF4-FFF2-40B4-BE49-F238E27FC236}">
                <a16:creationId xmlns:a16="http://schemas.microsoft.com/office/drawing/2014/main" id="{D9C1E099-4B35-4DA1-B9D7-3E7E137462AF}"/>
              </a:ext>
            </a:extLst>
          </p:cNvPr>
          <p:cNvSpPr>
            <a:spLocks noGrp="1"/>
          </p:cNvSpPr>
          <p:nvPr>
            <p:ph type="sldNum" sz="quarter" idx="11"/>
          </p:nvPr>
        </p:nvSpPr>
        <p:spPr bwMode="gray"/>
        <p:txBody>
          <a:bodyPr/>
          <a:lstStyle>
            <a:lvl1pPr algn="l">
              <a:defRPr sz="700"/>
            </a:lvl1pPr>
          </a:lstStyle>
          <a:p>
            <a:fld id="{C651C7C4-31E4-E340-822E-DEA0EA75A835}" type="slidenum">
              <a:rPr lang="en-US" smtClean="0"/>
              <a:pPr/>
              <a:t>‹#›</a:t>
            </a:fld>
            <a:endParaRPr lang="en-US" dirty="0"/>
          </a:p>
        </p:txBody>
      </p:sp>
      <p:sp>
        <p:nvSpPr>
          <p:cNvPr id="14" name="Textplatzhalter 13">
            <a:extLst>
              <a:ext uri="{FF2B5EF4-FFF2-40B4-BE49-F238E27FC236}">
                <a16:creationId xmlns:a16="http://schemas.microsoft.com/office/drawing/2014/main" id="{A5E029D1-874B-411C-9322-9E92EED7AB07}"/>
              </a:ext>
            </a:extLst>
          </p:cNvPr>
          <p:cNvSpPr>
            <a:spLocks noGrp="1"/>
          </p:cNvSpPr>
          <p:nvPr>
            <p:ph type="body" sz="quarter" idx="12" hasCustomPrompt="1"/>
          </p:nvPr>
        </p:nvSpPr>
        <p:spPr>
          <a:xfrm>
            <a:off x="539750" y="1295400"/>
            <a:ext cx="8280400" cy="1860509"/>
          </a:xfrm>
        </p:spPr>
        <p:txBody>
          <a:bodyPr>
            <a:spAutoFit/>
          </a:bodyPr>
          <a:lstStyle>
            <a:lvl1pPr>
              <a:lnSpc>
                <a:spcPct val="120000"/>
              </a:lnSpc>
              <a:buClrTx/>
              <a:defRPr/>
            </a:lvl1pPr>
            <a:lvl2pPr>
              <a:lnSpc>
                <a:spcPct val="120000"/>
              </a:lnSpc>
              <a:buClrTx/>
              <a:defRPr/>
            </a:lvl2pPr>
            <a:lvl3pPr>
              <a:lnSpc>
                <a:spcPct val="120000"/>
              </a:lnSpc>
              <a:buClrTx/>
              <a:defRPr/>
            </a:lvl3pPr>
            <a:lvl4pPr>
              <a:lnSpc>
                <a:spcPct val="120000"/>
              </a:lnSpc>
              <a:buClrTx/>
              <a:defRPr/>
            </a:lvl4pPr>
            <a:lvl5pPr>
              <a:lnSpc>
                <a:spcPct val="120000"/>
              </a:lnSpc>
              <a:buClrTx/>
              <a:defRPr/>
            </a:lvl5pPr>
          </a:lstStyle>
          <a:p>
            <a:pPr lvl="0"/>
            <a:r>
              <a:rPr lang="en-US"/>
              <a:t>First level</a:t>
            </a:r>
          </a:p>
          <a:p>
            <a:pPr lvl="1"/>
            <a:r>
              <a:rPr lang="en-US"/>
              <a:t>Second </a:t>
            </a:r>
            <a:r>
              <a:rPr lang="en-US" dirty="0"/>
              <a:t>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7530008"/>
      </p:ext>
    </p:extLst>
  </p:cSld>
  <p:clrMapOvr>
    <a:masterClrMapping/>
  </p:clrMapOvr>
  <p:extLst>
    <p:ext uri="{DCECCB84-F9BA-43D5-87BE-67443E8EF086}">
      <p15:sldGuideLst xmlns:p15="http://schemas.microsoft.com/office/powerpoint/2012/main">
        <p15:guide id="1" pos="5783" userDrawn="1">
          <p15:clr>
            <a:srgbClr val="FBAE40"/>
          </p15:clr>
        </p15:guide>
        <p15:guide id="2" pos="5556"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64DD43-E910-4880-834F-73E0C54B079A}"/>
              </a:ext>
            </a:extLst>
          </p:cNvPr>
          <p:cNvSpPr>
            <a:spLocks noGrp="1"/>
          </p:cNvSpPr>
          <p:nvPr>
            <p:ph type="title" hasCustomPrompt="1"/>
          </p:nvPr>
        </p:nvSpPr>
        <p:spPr/>
        <p:txBody>
          <a:bodyPr/>
          <a:lstStyle/>
          <a:p>
            <a:r>
              <a:rPr lang="en-US"/>
              <a:t>Insert Heading (two lines max)</a:t>
            </a:r>
            <a:endParaRPr lang="en-US" dirty="0"/>
          </a:p>
        </p:txBody>
      </p:sp>
      <p:sp>
        <p:nvSpPr>
          <p:cNvPr id="3" name="Fußzeilenplatzhalter 2">
            <a:extLst>
              <a:ext uri="{FF2B5EF4-FFF2-40B4-BE49-F238E27FC236}">
                <a16:creationId xmlns:a16="http://schemas.microsoft.com/office/drawing/2014/main" id="{D8DD20B1-22D9-42BB-8120-96895CF3646B}"/>
              </a:ext>
            </a:extLst>
          </p:cNvPr>
          <p:cNvSpPr>
            <a:spLocks noGrp="1"/>
          </p:cNvSpPr>
          <p:nvPr>
            <p:ph type="ftr" sz="quarter" idx="10"/>
          </p:nvPr>
        </p:nvSpPr>
        <p:spPr bwMode="gray"/>
        <p:txBody>
          <a:bodyPr/>
          <a:lstStyle>
            <a:lvl1pPr algn="l">
              <a:defRPr sz="700"/>
            </a:lvl1pPr>
          </a:lstStyle>
          <a:p>
            <a:r>
              <a:rPr lang="en-US"/>
              <a:t>IAV  MM/YYYY  Department Code  Initials  Status: draft, confidential</a:t>
            </a:r>
            <a:endParaRPr lang="en-US" dirty="0"/>
          </a:p>
        </p:txBody>
      </p:sp>
      <p:sp>
        <p:nvSpPr>
          <p:cNvPr id="4" name="Foliennummernplatzhalter 3">
            <a:extLst>
              <a:ext uri="{FF2B5EF4-FFF2-40B4-BE49-F238E27FC236}">
                <a16:creationId xmlns:a16="http://schemas.microsoft.com/office/drawing/2014/main" id="{3CC135E0-6174-4B68-8FAF-2CD7F3705E25}"/>
              </a:ext>
            </a:extLst>
          </p:cNvPr>
          <p:cNvSpPr>
            <a:spLocks noGrp="1"/>
          </p:cNvSpPr>
          <p:nvPr>
            <p:ph type="sldNum" sz="quarter" idx="11"/>
          </p:nvPr>
        </p:nvSpPr>
        <p:spPr bwMode="gray"/>
        <p:txBody>
          <a:bodyPr/>
          <a:lstStyle>
            <a:lvl1pPr algn="l">
              <a:defRPr sz="700"/>
            </a:lvl1pPr>
          </a:lstStyle>
          <a:p>
            <a:fld id="{C651C7C4-31E4-E340-822E-DEA0EA75A835}" type="slidenum">
              <a:rPr lang="en-US" smtClean="0"/>
              <a:pPr/>
              <a:t>‹#›</a:t>
            </a:fld>
            <a:endParaRPr lang="en-US" dirty="0"/>
          </a:p>
        </p:txBody>
      </p:sp>
      <p:sp>
        <p:nvSpPr>
          <p:cNvPr id="11" name="Textplatzhalter 10">
            <a:extLst>
              <a:ext uri="{FF2B5EF4-FFF2-40B4-BE49-F238E27FC236}">
                <a16:creationId xmlns:a16="http://schemas.microsoft.com/office/drawing/2014/main" id="{5B24D9A6-0E7F-471A-BD30-D9B90EF27E5E}"/>
              </a:ext>
            </a:extLst>
          </p:cNvPr>
          <p:cNvSpPr>
            <a:spLocks noGrp="1"/>
          </p:cNvSpPr>
          <p:nvPr>
            <p:ph type="body" sz="quarter" idx="12" hasCustomPrompt="1"/>
          </p:nvPr>
        </p:nvSpPr>
        <p:spPr>
          <a:xfrm>
            <a:off x="539750" y="1295400"/>
            <a:ext cx="5040313" cy="1860509"/>
          </a:xfrm>
        </p:spPr>
        <p:txBody>
          <a:bodyPr>
            <a:spAutoFit/>
          </a:bodyPr>
          <a:lstStyle>
            <a:lvl1pPr>
              <a:lnSpc>
                <a:spcPct val="120000"/>
              </a:lnSpc>
              <a:defRPr/>
            </a:lvl1pPr>
            <a:lvl2pPr>
              <a:lnSpc>
                <a:spcPct val="120000"/>
              </a:lnSpc>
              <a:buClrTx/>
              <a:defRPr/>
            </a:lvl2pPr>
            <a:lvl3pPr>
              <a:lnSpc>
                <a:spcPct val="120000"/>
              </a:lnSpc>
              <a:defRPr/>
            </a:lvl3pPr>
            <a:lvl4pPr>
              <a:lnSpc>
                <a:spcPct val="120000"/>
              </a:lnSpc>
              <a:defRPr/>
            </a:lvl4pPr>
            <a:lvl5pPr>
              <a:lnSpc>
                <a:spcPct val="120000"/>
              </a:lnSpc>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platzhalter 12">
            <a:extLst>
              <a:ext uri="{FF2B5EF4-FFF2-40B4-BE49-F238E27FC236}">
                <a16:creationId xmlns:a16="http://schemas.microsoft.com/office/drawing/2014/main" id="{63F85D02-DB8C-41B1-88A9-2471D83B5C35}"/>
              </a:ext>
            </a:extLst>
          </p:cNvPr>
          <p:cNvSpPr>
            <a:spLocks noGrp="1"/>
          </p:cNvSpPr>
          <p:nvPr>
            <p:ph type="body" sz="quarter" idx="13" hasCustomPrompt="1"/>
          </p:nvPr>
        </p:nvSpPr>
        <p:spPr>
          <a:xfrm>
            <a:off x="5940425" y="1295400"/>
            <a:ext cx="5040313" cy="1860509"/>
          </a:xfrm>
        </p:spPr>
        <p:txBody>
          <a:bodyPr>
            <a:spAutoFit/>
          </a:bodyPr>
          <a:lstStyle>
            <a:lvl1pPr>
              <a:lnSpc>
                <a:spcPct val="120000"/>
              </a:lnSpc>
              <a:buClrTx/>
              <a:defRPr/>
            </a:lvl1pPr>
            <a:lvl2pPr>
              <a:lnSpc>
                <a:spcPct val="120000"/>
              </a:lnSpc>
              <a:buClrTx/>
              <a:defRPr/>
            </a:lvl2pPr>
            <a:lvl3pPr>
              <a:lnSpc>
                <a:spcPct val="120000"/>
              </a:lnSpc>
              <a:buClrTx/>
              <a:defRPr/>
            </a:lvl3pPr>
            <a:lvl4pPr>
              <a:lnSpc>
                <a:spcPct val="120000"/>
              </a:lnSpc>
              <a:buClrTx/>
              <a:defRPr/>
            </a:lvl4pPr>
            <a:lvl5pPr>
              <a:lnSpc>
                <a:spcPct val="120000"/>
              </a:lnSpc>
              <a:buClrTx/>
              <a:defRPr/>
            </a:lvl5pPr>
          </a:lstStyle>
          <a:p>
            <a:pPr lvl="0"/>
            <a:r>
              <a:rPr lang="en-US"/>
              <a:t>First level</a:t>
            </a:r>
          </a:p>
          <a:p>
            <a:pPr lvl="1"/>
            <a:r>
              <a:rPr lang="en-US"/>
              <a:t>Second </a:t>
            </a:r>
            <a:r>
              <a:rPr lang="en-US" dirty="0"/>
              <a:t>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3287095"/>
      </p:ext>
    </p:extLst>
  </p:cSld>
  <p:clrMapOvr>
    <a:masterClrMapping/>
  </p:clrMapOvr>
  <p:extLst>
    <p:ext uri="{DCECCB84-F9BA-43D5-87BE-67443E8EF086}">
      <p15:sldGuideLst xmlns:p15="http://schemas.microsoft.com/office/powerpoint/2012/main">
        <p15:guide id="1" pos="3515" userDrawn="1">
          <p15:clr>
            <a:srgbClr val="FBAE40"/>
          </p15:clr>
        </p15:guide>
        <p15:guide id="2" pos="3742"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3.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4"/>
            </p:custDataLst>
            <p:extLst>
              <p:ext uri="{D42A27DB-BD31-4B8C-83A1-F6EECF244321}">
                <p14:modId xmlns:p14="http://schemas.microsoft.com/office/powerpoint/2010/main" val="3312850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501" imgH="502" progId="TCLayout.ActiveDocument.1">
                  <p:embed/>
                </p:oleObj>
              </mc:Choice>
              <mc:Fallback>
                <p:oleObj name="think-cell Folie" r:id="rId15" imgW="501" imgH="502" progId="TCLayout.ActiveDocument.1">
                  <p:embed/>
                  <p:pic>
                    <p:nvPicPr>
                      <p:cNvPr id="7" name="Objekt 6" hidden="1"/>
                      <p:cNvPicPr/>
                      <p:nvPr/>
                    </p:nvPicPr>
                    <p:blipFill>
                      <a:blip r:embed="rId16"/>
                      <a:stretch>
                        <a:fillRect/>
                      </a:stretch>
                    </p:blipFill>
                    <p:spPr>
                      <a:xfrm>
                        <a:off x="1588" y="1588"/>
                        <a:ext cx="1588" cy="1588"/>
                      </a:xfrm>
                      <a:prstGeom prst="rect">
                        <a:avLst/>
                      </a:prstGeom>
                    </p:spPr>
                  </p:pic>
                </p:oleObj>
              </mc:Fallback>
            </mc:AlternateContent>
          </a:graphicData>
        </a:graphic>
      </p:graphicFrame>
      <p:pic>
        <p:nvPicPr>
          <p:cNvPr id="8" name="IAV_Logo">
            <a:extLst>
              <a:ext uri="{FF2B5EF4-FFF2-40B4-BE49-F238E27FC236}">
                <a16:creationId xmlns:a16="http://schemas.microsoft.com/office/drawing/2014/main" id="{5303FE09-13DE-40DF-9B8F-924668BBC2A2}"/>
              </a:ext>
            </a:extLst>
          </p:cNvPr>
          <p:cNvPicPr>
            <a:picLocks noChangeAspect="1"/>
          </p:cNvPicPr>
          <p:nvPr userDrawn="1"/>
        </p:nvPicPr>
        <p:blipFill>
          <a:blip r:embed="rId17" cstate="hq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148244" y="5868379"/>
            <a:ext cx="976596" cy="540000"/>
          </a:xfrm>
          <a:prstGeom prst="rect">
            <a:avLst/>
          </a:prstGeom>
        </p:spPr>
      </p:pic>
      <p:sp>
        <p:nvSpPr>
          <p:cNvPr id="6" name="Titelplatzhalter 5">
            <a:extLst>
              <a:ext uri="{FF2B5EF4-FFF2-40B4-BE49-F238E27FC236}">
                <a16:creationId xmlns:a16="http://schemas.microsoft.com/office/drawing/2014/main" id="{215D79D1-0F07-F54D-A97D-0DF2C2639ECE}"/>
              </a:ext>
            </a:extLst>
          </p:cNvPr>
          <p:cNvSpPr>
            <a:spLocks noGrp="1"/>
          </p:cNvSpPr>
          <p:nvPr>
            <p:ph type="title"/>
          </p:nvPr>
        </p:nvSpPr>
        <p:spPr>
          <a:xfrm>
            <a:off x="539750" y="359767"/>
            <a:ext cx="10440988" cy="361875"/>
          </a:xfrm>
          <a:prstGeom prst="rect">
            <a:avLst/>
          </a:prstGeom>
        </p:spPr>
        <p:txBody>
          <a:bodyPr vert="horz" wrap="square" lIns="0" tIns="3600" rIns="0" bIns="0" rtlCol="0" anchor="t" anchorCtr="0">
            <a:spAutoFit/>
          </a:bodyPr>
          <a:lstStyle/>
          <a:p>
            <a:r>
              <a:rPr lang="en-US"/>
              <a:t>Insert Heading</a:t>
            </a:r>
            <a:endParaRPr lang="en-US" dirty="0"/>
          </a:p>
        </p:txBody>
      </p:sp>
      <p:sp>
        <p:nvSpPr>
          <p:cNvPr id="3" name="Textplatzhalter 2">
            <a:extLst>
              <a:ext uri="{FF2B5EF4-FFF2-40B4-BE49-F238E27FC236}">
                <a16:creationId xmlns:a16="http://schemas.microsoft.com/office/drawing/2014/main" id="{CC9BAD58-EA1D-0646-BB22-950E4D130218}"/>
              </a:ext>
            </a:extLst>
          </p:cNvPr>
          <p:cNvSpPr>
            <a:spLocks noGrp="1"/>
          </p:cNvSpPr>
          <p:nvPr>
            <p:ph type="body" idx="1"/>
          </p:nvPr>
        </p:nvSpPr>
        <p:spPr>
          <a:xfrm>
            <a:off x="539750" y="1295869"/>
            <a:ext cx="10441074" cy="4536000"/>
          </a:xfrm>
          <a:prstGeom prst="rect">
            <a:avLst/>
          </a:prstGeom>
        </p:spPr>
        <p:txBody>
          <a:bodyPr vert="horz" lIns="0" tIns="0" rIns="0" bIns="0" rtlCol="0">
            <a:noAutofit/>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ußzeilenplatzhalter 3">
            <a:extLst>
              <a:ext uri="{FF2B5EF4-FFF2-40B4-BE49-F238E27FC236}">
                <a16:creationId xmlns:a16="http://schemas.microsoft.com/office/drawing/2014/main" id="{5EE18D1A-B42F-F947-9EA4-02E983BA8A0F}"/>
              </a:ext>
            </a:extLst>
          </p:cNvPr>
          <p:cNvSpPr>
            <a:spLocks noGrp="1"/>
          </p:cNvSpPr>
          <p:nvPr>
            <p:ph type="ftr" sz="quarter" idx="3"/>
          </p:nvPr>
        </p:nvSpPr>
        <p:spPr bwMode="gray">
          <a:xfrm>
            <a:off x="972123" y="6048375"/>
            <a:ext cx="4608513" cy="179364"/>
          </a:xfrm>
          <a:prstGeom prst="rect">
            <a:avLst/>
          </a:prstGeom>
        </p:spPr>
        <p:txBody>
          <a:bodyPr vert="horz" wrap="none" lIns="0" tIns="0" rIns="0" bIns="0" rtlCol="0" anchor="ctr"/>
          <a:lstStyle>
            <a:lvl1pPr algn="l">
              <a:defRPr sz="700">
                <a:solidFill>
                  <a:schemeClr val="tx1"/>
                </a:solidFill>
              </a:defRPr>
            </a:lvl1pPr>
          </a:lstStyle>
          <a:p>
            <a:r>
              <a:rPr lang="en-US"/>
              <a:t>IAV  MM/YYYY  Department Code  Initials  Status: draft, confidential</a:t>
            </a:r>
            <a:endParaRPr lang="en-US" dirty="0"/>
          </a:p>
        </p:txBody>
      </p:sp>
      <p:sp>
        <p:nvSpPr>
          <p:cNvPr id="5" name="Foliennummernplatzhalter 4">
            <a:extLst>
              <a:ext uri="{FF2B5EF4-FFF2-40B4-BE49-F238E27FC236}">
                <a16:creationId xmlns:a16="http://schemas.microsoft.com/office/drawing/2014/main" id="{C017BA7A-7483-0F40-B2B2-407F1D1086C8}"/>
              </a:ext>
            </a:extLst>
          </p:cNvPr>
          <p:cNvSpPr>
            <a:spLocks noGrp="1"/>
          </p:cNvSpPr>
          <p:nvPr>
            <p:ph type="sldNum" sz="quarter" idx="4"/>
          </p:nvPr>
        </p:nvSpPr>
        <p:spPr bwMode="gray">
          <a:xfrm>
            <a:off x="539664" y="6048399"/>
            <a:ext cx="360000" cy="179364"/>
          </a:xfrm>
          <a:prstGeom prst="rect">
            <a:avLst/>
          </a:prstGeom>
        </p:spPr>
        <p:txBody>
          <a:bodyPr vert="horz" wrap="none" lIns="0" tIns="0" rIns="0" bIns="0" rtlCol="0" anchor="ctr"/>
          <a:lstStyle>
            <a:lvl1pPr algn="l">
              <a:defRPr sz="700">
                <a:solidFill>
                  <a:schemeClr val="tx1"/>
                </a:solidFill>
              </a:defRPr>
            </a:lvl1pPr>
          </a:lstStyle>
          <a:p>
            <a:fld id="{C651C7C4-31E4-E340-822E-DEA0EA75A835}" type="slidenum">
              <a:rPr lang="en-US" smtClean="0"/>
              <a:pPr/>
              <a:t>‹#›</a:t>
            </a:fld>
            <a:endParaRPr lang="en-US" dirty="0"/>
          </a:p>
        </p:txBody>
      </p:sp>
    </p:spTree>
    <p:extLst>
      <p:ext uri="{BB962C8B-B14F-4D97-AF65-F5344CB8AC3E}">
        <p14:creationId xmlns:p14="http://schemas.microsoft.com/office/powerpoint/2010/main" val="386244251"/>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2" r:id="rId6"/>
    <p:sldLayoutId id="2147483763" r:id="rId7"/>
    <p:sldLayoutId id="2147483752" r:id="rId8"/>
    <p:sldLayoutId id="2147483755" r:id="rId9"/>
    <p:sldLayoutId id="2147483753" r:id="rId10"/>
    <p:sldLayoutId id="2147483761" r:id="rId11"/>
    <p:sldLayoutId id="2147483767" r:id="rId12"/>
  </p:sldLayoutIdLst>
  <p:hf hdr="0" dt="0"/>
  <p:txStyles>
    <p:titleStyle>
      <a:lvl1pPr algn="l" defTabSz="863995" rtl="0" eaLnBrk="1" latinLnBrk="0" hangingPunct="1">
        <a:lnSpc>
          <a:spcPct val="97000"/>
        </a:lnSpc>
        <a:spcBef>
          <a:spcPct val="0"/>
        </a:spcBef>
        <a:spcAft>
          <a:spcPts val="850"/>
        </a:spcAft>
        <a:buNone/>
        <a:defRPr sz="2400" b="1" kern="1200">
          <a:solidFill>
            <a:schemeClr val="tx1"/>
          </a:solidFill>
          <a:latin typeface="+mj-lt"/>
          <a:ea typeface="Aktiv Grotesk" panose="020B0504020202020204" pitchFamily="34" charset="0"/>
          <a:cs typeface="Aktiv Grotesk" panose="020B0504020202020204" pitchFamily="34" charset="0"/>
        </a:defRPr>
      </a:lvl1pPr>
    </p:titleStyle>
    <p:bodyStyle>
      <a:lvl1pPr marL="18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1pPr>
      <a:lvl2pPr marL="360000" indent="-180000" algn="l" defTabSz="863995" rtl="0" eaLnBrk="1" latinLnBrk="0" hangingPunct="1">
        <a:lnSpc>
          <a:spcPct val="120000"/>
        </a:lnSpc>
        <a:spcBef>
          <a:spcPts val="800"/>
        </a:spcBef>
        <a:spcAft>
          <a:spcPts val="0"/>
        </a:spcAft>
        <a:buClr>
          <a:schemeClr val="tx1"/>
        </a:buClr>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2pPr>
      <a:lvl3pPr marL="540000" indent="-179388" algn="l" defTabSz="863995" rtl="0" eaLnBrk="1" latinLnBrk="0" hangingPunct="1">
        <a:lnSpc>
          <a:spcPct val="120000"/>
        </a:lnSpc>
        <a:spcBef>
          <a:spcPts val="800"/>
        </a:spcBef>
        <a:spcAft>
          <a:spcPts val="0"/>
        </a:spcAft>
        <a:buClr>
          <a:schemeClr val="tx1"/>
        </a:buClr>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3pPr>
      <a:lvl4pPr marL="720000" indent="-180000" algn="l" defTabSz="863995" rtl="0" eaLnBrk="1" latinLnBrk="0" hangingPunct="1">
        <a:lnSpc>
          <a:spcPct val="120000"/>
        </a:lnSpc>
        <a:spcBef>
          <a:spcPts val="800"/>
        </a:spcBef>
        <a:spcAft>
          <a:spcPts val="0"/>
        </a:spcAft>
        <a:buClr>
          <a:schemeClr val="tx1"/>
        </a:buClr>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4pPr>
      <a:lvl5pPr marL="900000" indent="-180000" algn="l" defTabSz="863995" rtl="0" eaLnBrk="1" latinLnBrk="0" hangingPunct="1">
        <a:lnSpc>
          <a:spcPct val="120000"/>
        </a:lnSpc>
        <a:spcBef>
          <a:spcPts val="800"/>
        </a:spcBef>
        <a:spcAft>
          <a:spcPts val="0"/>
        </a:spcAft>
        <a:buClr>
          <a:schemeClr val="tx1"/>
        </a:buClr>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p:bodyStyle>
    <p:otherStyle>
      <a:defPPr>
        <a:defRPr lang="de-DE"/>
      </a:defPPr>
      <a:lvl1pPr marL="0" algn="l" defTabSz="863995" rtl="0" eaLnBrk="1" latinLnBrk="0" hangingPunct="1">
        <a:defRPr sz="1701" kern="1200">
          <a:solidFill>
            <a:schemeClr val="tx1"/>
          </a:solidFill>
          <a:latin typeface="+mn-lt"/>
          <a:ea typeface="+mn-ea"/>
          <a:cs typeface="+mn-cs"/>
        </a:defRPr>
      </a:lvl1pPr>
      <a:lvl2pPr marL="431998" algn="l" defTabSz="863995" rtl="0" eaLnBrk="1" latinLnBrk="0" hangingPunct="1">
        <a:defRPr sz="1701" kern="1200">
          <a:solidFill>
            <a:schemeClr val="tx1"/>
          </a:solidFill>
          <a:latin typeface="+mn-lt"/>
          <a:ea typeface="+mn-ea"/>
          <a:cs typeface="+mn-cs"/>
        </a:defRPr>
      </a:lvl2pPr>
      <a:lvl3pPr marL="863995" algn="l" defTabSz="863995" rtl="0" eaLnBrk="1" latinLnBrk="0" hangingPunct="1">
        <a:defRPr sz="1701" kern="1200">
          <a:solidFill>
            <a:schemeClr val="tx1"/>
          </a:solidFill>
          <a:latin typeface="+mn-lt"/>
          <a:ea typeface="+mn-ea"/>
          <a:cs typeface="+mn-cs"/>
        </a:defRPr>
      </a:lvl3pPr>
      <a:lvl4pPr marL="1295993" algn="l" defTabSz="863995" rtl="0" eaLnBrk="1" latinLnBrk="0" hangingPunct="1">
        <a:defRPr sz="1701" kern="1200">
          <a:solidFill>
            <a:schemeClr val="tx1"/>
          </a:solidFill>
          <a:latin typeface="+mn-lt"/>
          <a:ea typeface="+mn-ea"/>
          <a:cs typeface="+mn-cs"/>
        </a:defRPr>
      </a:lvl4pPr>
      <a:lvl5pPr marL="1727990" algn="l" defTabSz="863995" rtl="0" eaLnBrk="1" latinLnBrk="0" hangingPunct="1">
        <a:defRPr sz="1701" kern="1200">
          <a:solidFill>
            <a:schemeClr val="tx1"/>
          </a:solidFill>
          <a:latin typeface="+mn-lt"/>
          <a:ea typeface="+mn-ea"/>
          <a:cs typeface="+mn-cs"/>
        </a:defRPr>
      </a:lvl5pPr>
      <a:lvl6pPr marL="2159988" algn="l" defTabSz="863995" rtl="0" eaLnBrk="1" latinLnBrk="0" hangingPunct="1">
        <a:defRPr sz="1701" kern="1200">
          <a:solidFill>
            <a:schemeClr val="tx1"/>
          </a:solidFill>
          <a:latin typeface="+mn-lt"/>
          <a:ea typeface="+mn-ea"/>
          <a:cs typeface="+mn-cs"/>
        </a:defRPr>
      </a:lvl6pPr>
      <a:lvl7pPr marL="2591984" algn="l" defTabSz="863995" rtl="0" eaLnBrk="1" latinLnBrk="0" hangingPunct="1">
        <a:defRPr sz="1701" kern="1200">
          <a:solidFill>
            <a:schemeClr val="tx1"/>
          </a:solidFill>
          <a:latin typeface="+mn-lt"/>
          <a:ea typeface="+mn-ea"/>
          <a:cs typeface="+mn-cs"/>
        </a:defRPr>
      </a:lvl7pPr>
      <a:lvl8pPr marL="3023982" algn="l" defTabSz="863995" rtl="0" eaLnBrk="1" latinLnBrk="0" hangingPunct="1">
        <a:defRPr sz="1701" kern="1200">
          <a:solidFill>
            <a:schemeClr val="tx1"/>
          </a:solidFill>
          <a:latin typeface="+mn-lt"/>
          <a:ea typeface="+mn-ea"/>
          <a:cs typeface="+mn-cs"/>
        </a:defRPr>
      </a:lvl8pPr>
      <a:lvl9pPr marL="3455980" algn="l" defTabSz="863995" rtl="0" eaLnBrk="1" latinLnBrk="0" hangingPunct="1">
        <a:defRPr sz="1701"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userDrawn="1">
          <p15:clr>
            <a:srgbClr val="F26B43"/>
          </p15:clr>
        </p15:guide>
        <p15:guide id="2" orient="horz" pos="3674" userDrawn="1">
          <p15:clr>
            <a:srgbClr val="F26B43"/>
          </p15:clr>
        </p15:guide>
        <p15:guide id="3" pos="6917" userDrawn="1">
          <p15:clr>
            <a:srgbClr val="F26B43"/>
          </p15:clr>
        </p15:guide>
        <p15:guide id="4" orient="horz" pos="227" userDrawn="1">
          <p15:clr>
            <a:srgbClr val="F26B43"/>
          </p15:clr>
        </p15:guide>
        <p15:guide id="5" orient="horz" pos="590" userDrawn="1">
          <p15:clr>
            <a:srgbClr val="F26B43"/>
          </p15:clr>
        </p15:guide>
        <p15:guide id="6" orient="horz" pos="81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tags" Target="../tags/tag32.xml"/><Relationship Id="rId7" Type="http://schemas.openxmlformats.org/officeDocument/2006/relationships/image" Target="../media/image37.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notesSlide" Target="../notesSlides/notesSlide10.xml"/><Relationship Id="rId5" Type="http://schemas.openxmlformats.org/officeDocument/2006/relationships/slideLayout" Target="../slideLayouts/slideLayout6.xml"/><Relationship Id="rId10" Type="http://schemas.openxmlformats.org/officeDocument/2006/relationships/image" Target="../media/image40.svg"/><Relationship Id="rId4" Type="http://schemas.openxmlformats.org/officeDocument/2006/relationships/tags" Target="../tags/tag33.xml"/><Relationship Id="rId9" Type="http://schemas.openxmlformats.org/officeDocument/2006/relationships/image" Target="../media/image39.png"/></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image" Target="../media/image46.png"/><Relationship Id="rId18" Type="http://schemas.openxmlformats.org/officeDocument/2006/relationships/image" Target="../media/image51.svg"/><Relationship Id="rId3" Type="http://schemas.openxmlformats.org/officeDocument/2006/relationships/tags" Target="../tags/tag36.xml"/><Relationship Id="rId21" Type="http://schemas.openxmlformats.org/officeDocument/2006/relationships/image" Target="../media/image54.png"/><Relationship Id="rId7" Type="http://schemas.openxmlformats.org/officeDocument/2006/relationships/tags" Target="../tags/tag40.xml"/><Relationship Id="rId12" Type="http://schemas.openxmlformats.org/officeDocument/2006/relationships/notesSlide" Target="../notesSlides/notesSlide15.xml"/><Relationship Id="rId17" Type="http://schemas.openxmlformats.org/officeDocument/2006/relationships/image" Target="../media/image50.png"/><Relationship Id="rId2" Type="http://schemas.openxmlformats.org/officeDocument/2006/relationships/tags" Target="../tags/tag35.xml"/><Relationship Id="rId16" Type="http://schemas.openxmlformats.org/officeDocument/2006/relationships/image" Target="../media/image49.svg"/><Relationship Id="rId20" Type="http://schemas.openxmlformats.org/officeDocument/2006/relationships/image" Target="../media/image53.svg"/><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slideLayout" Target="../slideLayouts/slideLayout6.xml"/><Relationship Id="rId5" Type="http://schemas.openxmlformats.org/officeDocument/2006/relationships/tags" Target="../tags/tag38.xml"/><Relationship Id="rId15" Type="http://schemas.openxmlformats.org/officeDocument/2006/relationships/image" Target="../media/image48.png"/><Relationship Id="rId10" Type="http://schemas.openxmlformats.org/officeDocument/2006/relationships/tags" Target="../tags/tag43.xml"/><Relationship Id="rId19" Type="http://schemas.openxmlformats.org/officeDocument/2006/relationships/image" Target="../media/image52.png"/><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image" Target="../media/image47.svg"/><Relationship Id="rId22" Type="http://schemas.openxmlformats.org/officeDocument/2006/relationships/image" Target="../media/image55.svg"/></Relationships>
</file>

<file path=ppt/slides/_rels/slide16.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57.png"/><Relationship Id="rId18" Type="http://schemas.openxmlformats.org/officeDocument/2006/relationships/image" Target="../media/image62.sv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38.svg"/><Relationship Id="rId17" Type="http://schemas.openxmlformats.org/officeDocument/2006/relationships/image" Target="../media/image61.png"/><Relationship Id="rId2" Type="http://schemas.openxmlformats.org/officeDocument/2006/relationships/tags" Target="../tags/tag45.xml"/><Relationship Id="rId16" Type="http://schemas.openxmlformats.org/officeDocument/2006/relationships/image" Target="../media/image60.svg"/><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image" Target="../media/image37.png"/><Relationship Id="rId5" Type="http://schemas.openxmlformats.org/officeDocument/2006/relationships/tags" Target="../tags/tag48.xml"/><Relationship Id="rId15" Type="http://schemas.openxmlformats.org/officeDocument/2006/relationships/image" Target="../media/image59.png"/><Relationship Id="rId10" Type="http://schemas.openxmlformats.org/officeDocument/2006/relationships/notesSlide" Target="../notesSlides/notesSlide17.xml"/><Relationship Id="rId4" Type="http://schemas.openxmlformats.org/officeDocument/2006/relationships/tags" Target="../tags/tag47.xml"/><Relationship Id="rId9" Type="http://schemas.openxmlformats.org/officeDocument/2006/relationships/slideLayout" Target="../slideLayouts/slideLayout6.xml"/><Relationship Id="rId14" Type="http://schemas.openxmlformats.org/officeDocument/2006/relationships/image" Target="../media/image58.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3" Type="http://schemas.openxmlformats.org/officeDocument/2006/relationships/tags" Target="../tags/tag64.xml"/><Relationship Id="rId18" Type="http://schemas.openxmlformats.org/officeDocument/2006/relationships/image" Target="../media/image37.png"/><Relationship Id="rId26" Type="http://schemas.openxmlformats.org/officeDocument/2006/relationships/image" Target="../media/image63.png"/><Relationship Id="rId3" Type="http://schemas.openxmlformats.org/officeDocument/2006/relationships/tags" Target="../tags/tag54.xml"/><Relationship Id="rId21" Type="http://schemas.openxmlformats.org/officeDocument/2006/relationships/image" Target="../media/image58.svg"/><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notesSlide" Target="../notesSlides/notesSlide19.xml"/><Relationship Id="rId25" Type="http://schemas.openxmlformats.org/officeDocument/2006/relationships/image" Target="../media/image62.svg"/><Relationship Id="rId33" Type="http://schemas.openxmlformats.org/officeDocument/2006/relationships/image" Target="../media/image70.svg"/><Relationship Id="rId2" Type="http://schemas.openxmlformats.org/officeDocument/2006/relationships/tags" Target="../tags/tag53.xml"/><Relationship Id="rId16" Type="http://schemas.openxmlformats.org/officeDocument/2006/relationships/slideLayout" Target="../slideLayouts/slideLayout6.xml"/><Relationship Id="rId20" Type="http://schemas.openxmlformats.org/officeDocument/2006/relationships/image" Target="../media/image57.png"/><Relationship Id="rId29" Type="http://schemas.openxmlformats.org/officeDocument/2006/relationships/image" Target="../media/image66.svg"/><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tags" Target="../tags/tag62.xml"/><Relationship Id="rId24" Type="http://schemas.openxmlformats.org/officeDocument/2006/relationships/image" Target="../media/image61.png"/><Relationship Id="rId32" Type="http://schemas.openxmlformats.org/officeDocument/2006/relationships/image" Target="../media/image69.png"/><Relationship Id="rId5" Type="http://schemas.openxmlformats.org/officeDocument/2006/relationships/tags" Target="../tags/tag56.xml"/><Relationship Id="rId15" Type="http://schemas.openxmlformats.org/officeDocument/2006/relationships/tags" Target="../tags/tag66.xml"/><Relationship Id="rId23" Type="http://schemas.openxmlformats.org/officeDocument/2006/relationships/image" Target="../media/image60.svg"/><Relationship Id="rId28" Type="http://schemas.openxmlformats.org/officeDocument/2006/relationships/image" Target="../media/image65.png"/><Relationship Id="rId10" Type="http://schemas.openxmlformats.org/officeDocument/2006/relationships/tags" Target="../tags/tag61.xml"/><Relationship Id="rId19" Type="http://schemas.openxmlformats.org/officeDocument/2006/relationships/image" Target="../media/image38.svg"/><Relationship Id="rId31" Type="http://schemas.openxmlformats.org/officeDocument/2006/relationships/image" Target="../media/image68.svg"/><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 Id="rId22" Type="http://schemas.openxmlformats.org/officeDocument/2006/relationships/image" Target="../media/image59.png"/><Relationship Id="rId27" Type="http://schemas.openxmlformats.org/officeDocument/2006/relationships/image" Target="../media/image64.svg"/><Relationship Id="rId30" Type="http://schemas.openxmlformats.org/officeDocument/2006/relationships/image" Target="../media/image67.png"/><Relationship Id="rId8" Type="http://schemas.openxmlformats.org/officeDocument/2006/relationships/tags" Target="../tags/tag59.xml"/></Relationships>
</file>

<file path=ppt/slides/_rels/slide2.xml.rels><?xml version="1.0" encoding="UTF-8" standalone="yes"?>
<Relationships xmlns="http://schemas.openxmlformats.org/package/2006/relationships"><Relationship Id="rId13" Type="http://schemas.openxmlformats.org/officeDocument/2006/relationships/tags" Target="../tags/tag20.xml"/><Relationship Id="rId18" Type="http://schemas.openxmlformats.org/officeDocument/2006/relationships/notesSlide" Target="../notesSlides/notesSlide2.xml"/><Relationship Id="rId26" Type="http://schemas.openxmlformats.org/officeDocument/2006/relationships/image" Target="../media/image26.png"/><Relationship Id="rId3" Type="http://schemas.openxmlformats.org/officeDocument/2006/relationships/tags" Target="../tags/tag10.xml"/><Relationship Id="rId21" Type="http://schemas.openxmlformats.org/officeDocument/2006/relationships/image" Target="../media/image21.svg"/><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slideLayout" Target="../slideLayouts/slideLayout6.xml"/><Relationship Id="rId25" Type="http://schemas.openxmlformats.org/officeDocument/2006/relationships/image" Target="../media/image25.svg"/><Relationship Id="rId33" Type="http://schemas.openxmlformats.org/officeDocument/2006/relationships/image" Target="../media/image33.svg"/><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image" Target="../media/image20.png"/><Relationship Id="rId29" Type="http://schemas.openxmlformats.org/officeDocument/2006/relationships/image" Target="../media/image29.svg"/><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24" Type="http://schemas.openxmlformats.org/officeDocument/2006/relationships/image" Target="../media/image24.png"/><Relationship Id="rId32" Type="http://schemas.openxmlformats.org/officeDocument/2006/relationships/image" Target="../media/image32.png"/><Relationship Id="rId5" Type="http://schemas.openxmlformats.org/officeDocument/2006/relationships/tags" Target="../tags/tag12.xml"/><Relationship Id="rId15" Type="http://schemas.openxmlformats.org/officeDocument/2006/relationships/tags" Target="../tags/tag22.xml"/><Relationship Id="rId23" Type="http://schemas.openxmlformats.org/officeDocument/2006/relationships/image" Target="../media/image23.svg"/><Relationship Id="rId28" Type="http://schemas.openxmlformats.org/officeDocument/2006/relationships/image" Target="../media/image28.png"/><Relationship Id="rId10" Type="http://schemas.openxmlformats.org/officeDocument/2006/relationships/tags" Target="../tags/tag17.xml"/><Relationship Id="rId19" Type="http://schemas.openxmlformats.org/officeDocument/2006/relationships/image" Target="../media/image19.png"/><Relationship Id="rId31" Type="http://schemas.openxmlformats.org/officeDocument/2006/relationships/image" Target="../media/image31.sv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image" Target="../media/image22.png"/><Relationship Id="rId27" Type="http://schemas.openxmlformats.org/officeDocument/2006/relationships/image" Target="../media/image27.svg"/><Relationship Id="rId30" Type="http://schemas.openxmlformats.org/officeDocument/2006/relationships/image" Target="../media/image30.png"/><Relationship Id="rId8" Type="http://schemas.openxmlformats.org/officeDocument/2006/relationships/tags" Target="../tags/tag15.xml"/></Relationships>
</file>

<file path=ppt/slides/_rels/slide20.xml.rels><?xml version="1.0" encoding="UTF-8" standalone="yes"?>
<Relationships xmlns="http://schemas.openxmlformats.org/package/2006/relationships"><Relationship Id="rId13" Type="http://schemas.openxmlformats.org/officeDocument/2006/relationships/tags" Target="../tags/tag79.xml"/><Relationship Id="rId18" Type="http://schemas.openxmlformats.org/officeDocument/2006/relationships/notesSlide" Target="../notesSlides/notesSlide20.xml"/><Relationship Id="rId26" Type="http://schemas.openxmlformats.org/officeDocument/2006/relationships/image" Target="../media/image76.svg"/><Relationship Id="rId3" Type="http://schemas.openxmlformats.org/officeDocument/2006/relationships/tags" Target="../tags/tag69.xml"/><Relationship Id="rId21" Type="http://schemas.openxmlformats.org/officeDocument/2006/relationships/image" Target="../media/image71.png"/><Relationship Id="rId34" Type="http://schemas.openxmlformats.org/officeDocument/2006/relationships/image" Target="../media/image84.svg"/><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slideLayout" Target="../slideLayouts/slideLayout9.xml"/><Relationship Id="rId25" Type="http://schemas.openxmlformats.org/officeDocument/2006/relationships/image" Target="../media/image75.png"/><Relationship Id="rId33" Type="http://schemas.openxmlformats.org/officeDocument/2006/relationships/image" Target="../media/image83.png"/><Relationship Id="rId2" Type="http://schemas.openxmlformats.org/officeDocument/2006/relationships/tags" Target="../tags/tag68.xml"/><Relationship Id="rId16" Type="http://schemas.openxmlformats.org/officeDocument/2006/relationships/tags" Target="../tags/tag82.xml"/><Relationship Id="rId20" Type="http://schemas.openxmlformats.org/officeDocument/2006/relationships/image" Target="../media/image53.svg"/><Relationship Id="rId29" Type="http://schemas.openxmlformats.org/officeDocument/2006/relationships/image" Target="../media/image79.png"/><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tags" Target="../tags/tag77.xml"/><Relationship Id="rId24" Type="http://schemas.openxmlformats.org/officeDocument/2006/relationships/image" Target="../media/image74.svg"/><Relationship Id="rId32" Type="http://schemas.openxmlformats.org/officeDocument/2006/relationships/image" Target="../media/image82.svg"/><Relationship Id="rId5" Type="http://schemas.openxmlformats.org/officeDocument/2006/relationships/tags" Target="../tags/tag71.xml"/><Relationship Id="rId15" Type="http://schemas.openxmlformats.org/officeDocument/2006/relationships/tags" Target="../tags/tag81.xml"/><Relationship Id="rId23" Type="http://schemas.openxmlformats.org/officeDocument/2006/relationships/image" Target="../media/image73.png"/><Relationship Id="rId28" Type="http://schemas.openxmlformats.org/officeDocument/2006/relationships/image" Target="../media/image78.svg"/><Relationship Id="rId10" Type="http://schemas.openxmlformats.org/officeDocument/2006/relationships/tags" Target="../tags/tag76.xml"/><Relationship Id="rId19" Type="http://schemas.openxmlformats.org/officeDocument/2006/relationships/image" Target="../media/image52.png"/><Relationship Id="rId31" Type="http://schemas.openxmlformats.org/officeDocument/2006/relationships/image" Target="../media/image81.png"/><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 Id="rId22" Type="http://schemas.openxmlformats.org/officeDocument/2006/relationships/image" Target="../media/image72.svg"/><Relationship Id="rId27" Type="http://schemas.openxmlformats.org/officeDocument/2006/relationships/image" Target="../media/image77.png"/><Relationship Id="rId30" Type="http://schemas.openxmlformats.org/officeDocument/2006/relationships/image" Target="../media/image80.svg"/><Relationship Id="rId8" Type="http://schemas.openxmlformats.org/officeDocument/2006/relationships/tags" Target="../tags/tag74.xml"/></Relationships>
</file>

<file path=ppt/slides/_rels/slide21.xml.rels><?xml version="1.0" encoding="UTF-8" standalone="yes"?>
<Relationships xmlns="http://schemas.openxmlformats.org/package/2006/relationships"><Relationship Id="rId8" Type="http://schemas.openxmlformats.org/officeDocument/2006/relationships/notesSlide" Target="../notesSlides/notesSlide21.xml"/><Relationship Id="rId13" Type="http://schemas.openxmlformats.org/officeDocument/2006/relationships/image" Target="../media/image87.png"/><Relationship Id="rId3" Type="http://schemas.openxmlformats.org/officeDocument/2006/relationships/tags" Target="../tags/tag85.xml"/><Relationship Id="rId7" Type="http://schemas.openxmlformats.org/officeDocument/2006/relationships/slideLayout" Target="../slideLayouts/slideLayout8.xml"/><Relationship Id="rId12" Type="http://schemas.openxmlformats.org/officeDocument/2006/relationships/image" Target="../media/image86.sv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image" Target="../media/image85.png"/><Relationship Id="rId5" Type="http://schemas.openxmlformats.org/officeDocument/2006/relationships/tags" Target="../tags/tag87.xml"/><Relationship Id="rId10" Type="http://schemas.openxmlformats.org/officeDocument/2006/relationships/image" Target="../media/image55.svg"/><Relationship Id="rId4" Type="http://schemas.openxmlformats.org/officeDocument/2006/relationships/tags" Target="../tags/tag86.xml"/><Relationship Id="rId9" Type="http://schemas.openxmlformats.org/officeDocument/2006/relationships/image" Target="../media/image54.png"/><Relationship Id="rId14" Type="http://schemas.openxmlformats.org/officeDocument/2006/relationships/image" Target="../media/image88.svg"/></Relationships>
</file>

<file path=ppt/slides/_rels/slide22.xml.rels><?xml version="1.0" encoding="UTF-8" standalone="yes"?>
<Relationships xmlns="http://schemas.openxmlformats.org/package/2006/relationships"><Relationship Id="rId8" Type="http://schemas.openxmlformats.org/officeDocument/2006/relationships/notesSlide" Target="../notesSlides/notesSlide22.xml"/><Relationship Id="rId13" Type="http://schemas.openxmlformats.org/officeDocument/2006/relationships/image" Target="../media/image93.png"/><Relationship Id="rId3" Type="http://schemas.openxmlformats.org/officeDocument/2006/relationships/tags" Target="../tags/tag91.xml"/><Relationship Id="rId7" Type="http://schemas.openxmlformats.org/officeDocument/2006/relationships/slideLayout" Target="../slideLayouts/slideLayout8.xml"/><Relationship Id="rId12" Type="http://schemas.openxmlformats.org/officeDocument/2006/relationships/image" Target="../media/image92.sv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image" Target="../media/image91.png"/><Relationship Id="rId5" Type="http://schemas.openxmlformats.org/officeDocument/2006/relationships/tags" Target="../tags/tag93.xml"/><Relationship Id="rId10" Type="http://schemas.openxmlformats.org/officeDocument/2006/relationships/image" Target="../media/image90.svg"/><Relationship Id="rId4" Type="http://schemas.openxmlformats.org/officeDocument/2006/relationships/tags" Target="../tags/tag92.xml"/><Relationship Id="rId9" Type="http://schemas.openxmlformats.org/officeDocument/2006/relationships/image" Target="../media/image89.png"/><Relationship Id="rId14" Type="http://schemas.openxmlformats.org/officeDocument/2006/relationships/image" Target="../media/image94.svg"/></Relationships>
</file>

<file path=ppt/slides/_rels/slide23.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hyperlink" Target="mailto:dennis.kengo.oka@iav.jp" TargetMode="External"/><Relationship Id="rId5" Type="http://schemas.openxmlformats.org/officeDocument/2006/relationships/notesSlide" Target="../notesSlides/notesSlide23.xml"/><Relationship Id="rId4"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36.jpeg"/><Relationship Id="rId4" Type="http://schemas.openxmlformats.org/officeDocument/2006/relationships/image" Target="../media/image35.png"/></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24.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25.xml"/></Relationships>
</file>

<file path=ppt/slides/_rels/slide9.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tags" Target="../tags/tag28.xml"/><Relationship Id="rId7" Type="http://schemas.openxmlformats.org/officeDocument/2006/relationships/image" Target="../media/image37.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notesSlide" Target="../notesSlides/notesSlide9.xml"/><Relationship Id="rId5" Type="http://schemas.openxmlformats.org/officeDocument/2006/relationships/slideLayout" Target="../slideLayouts/slideLayout6.xml"/><Relationship Id="rId10" Type="http://schemas.openxmlformats.org/officeDocument/2006/relationships/image" Target="../media/image40.svg"/><Relationship Id="rId4" Type="http://schemas.openxmlformats.org/officeDocument/2006/relationships/tags" Target="../tags/tag29.xml"/><Relationship Id="rId9"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el 47">
            <a:extLst>
              <a:ext uri="{FF2B5EF4-FFF2-40B4-BE49-F238E27FC236}">
                <a16:creationId xmlns:a16="http://schemas.microsoft.com/office/drawing/2014/main" id="{9DF01F17-F9D2-470C-98BE-243CD5ED053D}"/>
              </a:ext>
            </a:extLst>
          </p:cNvPr>
          <p:cNvSpPr>
            <a:spLocks noGrp="1"/>
          </p:cNvSpPr>
          <p:nvPr>
            <p:ph type="title"/>
            <p:custDataLst>
              <p:tags r:id="rId2"/>
            </p:custDataLst>
          </p:nvPr>
        </p:nvSpPr>
        <p:spPr>
          <a:xfrm>
            <a:off x="539750" y="3376402"/>
            <a:ext cx="8280000" cy="403745"/>
          </a:xfrm>
        </p:spPr>
        <p:txBody>
          <a:bodyPr/>
          <a:lstStyle/>
          <a:p>
            <a:r>
              <a:rPr lang="en-US" dirty="0"/>
              <a:t>Trends of Automotive Threats and Attacks</a:t>
            </a:r>
          </a:p>
        </p:txBody>
      </p:sp>
      <p:sp>
        <p:nvSpPr>
          <p:cNvPr id="2" name="Fußzeilenplatzhalter 1">
            <a:extLst>
              <a:ext uri="{FF2B5EF4-FFF2-40B4-BE49-F238E27FC236}">
                <a16:creationId xmlns:a16="http://schemas.microsoft.com/office/drawing/2014/main" id="{C8608852-4567-4AF1-89B4-7879BA4F31C0}"/>
              </a:ext>
            </a:extLst>
          </p:cNvPr>
          <p:cNvSpPr>
            <a:spLocks noGrp="1"/>
          </p:cNvSpPr>
          <p:nvPr>
            <p:ph type="ftr" sz="quarter" idx="3"/>
          </p:nvPr>
        </p:nvSpPr>
        <p:spPr/>
        <p:txBody>
          <a:bodyPr/>
          <a:lstStyle/>
          <a:p>
            <a:r>
              <a:rPr lang="en-US"/>
              <a:t>IAV  MM/YYYY  Department Code  Initials  Status: draft, confidential</a:t>
            </a:r>
            <a:endParaRPr lang="en-US" dirty="0"/>
          </a:p>
        </p:txBody>
      </p:sp>
      <p:sp>
        <p:nvSpPr>
          <p:cNvPr id="51" name="Foliennummernplatzhalter 50">
            <a:extLst>
              <a:ext uri="{FF2B5EF4-FFF2-40B4-BE49-F238E27FC236}">
                <a16:creationId xmlns:a16="http://schemas.microsoft.com/office/drawing/2014/main" id="{9E349357-E0E5-4F4E-9B42-94751C2C86F3}"/>
              </a:ext>
            </a:extLst>
          </p:cNvPr>
          <p:cNvSpPr>
            <a:spLocks noGrp="1"/>
          </p:cNvSpPr>
          <p:nvPr>
            <p:ph type="sldNum" sz="quarter" idx="4"/>
          </p:nvPr>
        </p:nvSpPr>
        <p:spPr/>
        <p:txBody>
          <a:bodyPr/>
          <a:lstStyle/>
          <a:p>
            <a:fld id="{C651C7C4-31E4-E340-822E-DEA0EA75A835}" type="slidenum">
              <a:rPr lang="en-US" smtClean="0"/>
              <a:pPr/>
              <a:t>1</a:t>
            </a:fld>
            <a:endParaRPr lang="en-US" dirty="0"/>
          </a:p>
        </p:txBody>
      </p:sp>
      <p:sp>
        <p:nvSpPr>
          <p:cNvPr id="49" name="Textplatzhalter 48">
            <a:extLst>
              <a:ext uri="{FF2B5EF4-FFF2-40B4-BE49-F238E27FC236}">
                <a16:creationId xmlns:a16="http://schemas.microsoft.com/office/drawing/2014/main" id="{F2D4C992-6263-44EE-BBDD-FD2201250A58}"/>
              </a:ext>
            </a:extLst>
          </p:cNvPr>
          <p:cNvSpPr>
            <a:spLocks noGrp="1"/>
          </p:cNvSpPr>
          <p:nvPr>
            <p:ph type="body" sz="quarter" idx="13"/>
            <p:custDataLst>
              <p:tags r:id="rId3"/>
            </p:custDataLst>
          </p:nvPr>
        </p:nvSpPr>
        <p:spPr>
          <a:xfrm>
            <a:off x="539750" y="3960813"/>
            <a:ext cx="8280400" cy="1785938"/>
          </a:xfrm>
        </p:spPr>
        <p:txBody>
          <a:bodyPr/>
          <a:lstStyle/>
          <a:p>
            <a:r>
              <a:rPr lang="en-US" dirty="0"/>
              <a:t>Global Technical &amp; Cybersecurity Advisor</a:t>
            </a:r>
          </a:p>
          <a:p>
            <a:r>
              <a:rPr lang="en-US" dirty="0"/>
              <a:t>Dennis Kengo Oka</a:t>
            </a:r>
          </a:p>
          <a:p>
            <a:r>
              <a:rPr lang="en-US" dirty="0"/>
              <a:t>dennis.kengo.oka@iav.jp</a:t>
            </a:r>
          </a:p>
          <a:p>
            <a:endParaRPr lang="en-US" dirty="0"/>
          </a:p>
          <a:p>
            <a:endParaRPr lang="en-US" dirty="0"/>
          </a:p>
          <a:p>
            <a:r>
              <a:rPr lang="en-US" dirty="0" err="1"/>
              <a:t>GlobalPlatform</a:t>
            </a:r>
            <a:r>
              <a:rPr lang="en-US" dirty="0"/>
              <a:t> Cybersecurity Vehicle Forum</a:t>
            </a:r>
          </a:p>
          <a:p>
            <a:r>
              <a:rPr lang="en-US" dirty="0"/>
              <a:t>May 22, 2025, Tokyo, Japan</a:t>
            </a:r>
          </a:p>
        </p:txBody>
      </p:sp>
    </p:spTree>
    <p:custDataLst>
      <p:tags r:id="rId1"/>
    </p:custDataLst>
    <p:extLst>
      <p:ext uri="{BB962C8B-B14F-4D97-AF65-F5344CB8AC3E}">
        <p14:creationId xmlns:p14="http://schemas.microsoft.com/office/powerpoint/2010/main" val="6399145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95E9F6-A622-B759-9AA8-46BD7D9084E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C9453F84-5B78-46E4-F9CC-1D198F0C1EC6}"/>
              </a:ext>
            </a:extLst>
          </p:cNvPr>
          <p:cNvSpPr>
            <a:spLocks noGrp="1"/>
          </p:cNvSpPr>
          <p:nvPr>
            <p:ph type="title"/>
          </p:nvPr>
        </p:nvSpPr>
        <p:spPr/>
        <p:txBody>
          <a:bodyPr/>
          <a:lstStyle/>
          <a:p>
            <a:r>
              <a:rPr lang="en-US" dirty="0"/>
              <a:t>Increased Attack Surface</a:t>
            </a:r>
          </a:p>
        </p:txBody>
      </p:sp>
      <p:sp>
        <p:nvSpPr>
          <p:cNvPr id="3" name="Footer Placeholder 2">
            <a:extLst>
              <a:ext uri="{FF2B5EF4-FFF2-40B4-BE49-F238E27FC236}">
                <a16:creationId xmlns:a16="http://schemas.microsoft.com/office/drawing/2014/main" id="{64D6A7FA-4529-8E40-AEA2-34B83A4AECA4}"/>
              </a:ext>
            </a:extLst>
          </p:cNvPr>
          <p:cNvSpPr>
            <a:spLocks noGrp="1"/>
          </p:cNvSpPr>
          <p:nvPr>
            <p:ph type="ftr" sz="quarter" idx="10"/>
          </p:nvPr>
        </p:nvSpPr>
        <p:spPr/>
        <p:txBody>
          <a:bodyPr/>
          <a:lstStyle/>
          <a:p>
            <a:r>
              <a:rPr lang="en-US" dirty="0"/>
              <a:t>IAV  05/2025  IAVJ  DKO  Status: draft, confidential</a:t>
            </a:r>
          </a:p>
        </p:txBody>
      </p:sp>
      <p:sp>
        <p:nvSpPr>
          <p:cNvPr id="4" name="Slide Number Placeholder 3">
            <a:extLst>
              <a:ext uri="{FF2B5EF4-FFF2-40B4-BE49-F238E27FC236}">
                <a16:creationId xmlns:a16="http://schemas.microsoft.com/office/drawing/2014/main" id="{6E0A262C-D67B-CB9A-E936-7F38E5FC04BB}"/>
              </a:ext>
            </a:extLst>
          </p:cNvPr>
          <p:cNvSpPr>
            <a:spLocks noGrp="1"/>
          </p:cNvSpPr>
          <p:nvPr>
            <p:ph type="sldNum" sz="quarter" idx="11"/>
          </p:nvPr>
        </p:nvSpPr>
        <p:spPr/>
        <p:txBody>
          <a:bodyPr/>
          <a:lstStyle/>
          <a:p>
            <a:fld id="{C651C7C4-31E4-E340-822E-DEA0EA75A835}" type="slidenum">
              <a:rPr lang="en-US" smtClean="0"/>
              <a:pPr/>
              <a:t>10</a:t>
            </a:fld>
            <a:endParaRPr lang="en-US" dirty="0"/>
          </a:p>
        </p:txBody>
      </p:sp>
      <p:cxnSp>
        <p:nvCxnSpPr>
          <p:cNvPr id="15" name="Straight Arrow Connector 14">
            <a:extLst>
              <a:ext uri="{FF2B5EF4-FFF2-40B4-BE49-F238E27FC236}">
                <a16:creationId xmlns:a16="http://schemas.microsoft.com/office/drawing/2014/main" id="{788B357B-B346-33DF-20CB-9FB24A599D53}"/>
              </a:ext>
            </a:extLst>
          </p:cNvPr>
          <p:cNvCxnSpPr/>
          <p:nvPr/>
        </p:nvCxnSpPr>
        <p:spPr>
          <a:xfrm flipH="1" flipV="1">
            <a:off x="6828841" y="2354150"/>
            <a:ext cx="1764196" cy="1152128"/>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DF021747-F3F9-CC43-2347-48EA81BD9839}"/>
              </a:ext>
            </a:extLst>
          </p:cNvPr>
          <p:cNvCxnSpPr>
            <a:cxnSpLocks/>
          </p:cNvCxnSpPr>
          <p:nvPr/>
        </p:nvCxnSpPr>
        <p:spPr>
          <a:xfrm flipH="1">
            <a:off x="2545512" y="2354150"/>
            <a:ext cx="1764196" cy="1152128"/>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3EAFB82C-CCF8-C5BD-7596-21E009AE839C}"/>
              </a:ext>
            </a:extLst>
          </p:cNvPr>
          <p:cNvSpPr/>
          <p:nvPr/>
        </p:nvSpPr>
        <p:spPr>
          <a:xfrm>
            <a:off x="1007716" y="5316168"/>
            <a:ext cx="9397044" cy="52908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en-US" sz="2000" dirty="0"/>
              <a:t>Advanced software and increased connectivity lead to increased attack surface</a:t>
            </a:r>
          </a:p>
        </p:txBody>
      </p:sp>
      <p:sp>
        <p:nvSpPr>
          <p:cNvPr id="5" name="Speech Bubble: Rectangle with Corners Rounded 4">
            <a:extLst>
              <a:ext uri="{FF2B5EF4-FFF2-40B4-BE49-F238E27FC236}">
                <a16:creationId xmlns:a16="http://schemas.microsoft.com/office/drawing/2014/main" id="{31AEC02F-FE39-032E-978B-0C2A1D9FFCEF}"/>
              </a:ext>
            </a:extLst>
          </p:cNvPr>
          <p:cNvSpPr/>
          <p:nvPr/>
        </p:nvSpPr>
        <p:spPr>
          <a:xfrm>
            <a:off x="8392268" y="721642"/>
            <a:ext cx="2871216" cy="1952443"/>
          </a:xfrm>
          <a:prstGeom prst="wedgeRoundRectCallou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r>
              <a:rPr lang="en-US" sz="1600" dirty="0"/>
              <a:t>Reverse-engineering of mobile apps</a:t>
            </a:r>
          </a:p>
          <a:p>
            <a:pPr algn="l">
              <a:spcBef>
                <a:spcPts val="800"/>
              </a:spcBef>
            </a:pPr>
            <a:r>
              <a:rPr lang="en-US" sz="1600" dirty="0"/>
              <a:t>Session hijacking/Man-in-the-middle attacks</a:t>
            </a:r>
          </a:p>
          <a:p>
            <a:pPr algn="l">
              <a:spcBef>
                <a:spcPts val="800"/>
              </a:spcBef>
            </a:pPr>
            <a:r>
              <a:rPr lang="en-US" sz="1600" dirty="0"/>
              <a:t>Unauthorized access to mobile app’s memory</a:t>
            </a:r>
          </a:p>
        </p:txBody>
      </p:sp>
      <p:sp>
        <p:nvSpPr>
          <p:cNvPr id="8" name="TextBox 7">
            <a:extLst>
              <a:ext uri="{FF2B5EF4-FFF2-40B4-BE49-F238E27FC236}">
                <a16:creationId xmlns:a16="http://schemas.microsoft.com/office/drawing/2014/main" id="{EA151593-2783-B729-BF0A-87522BB928B3}"/>
              </a:ext>
            </a:extLst>
          </p:cNvPr>
          <p:cNvSpPr txBox="1"/>
          <p:nvPr/>
        </p:nvSpPr>
        <p:spPr>
          <a:xfrm>
            <a:off x="9123338" y="-1"/>
            <a:ext cx="3138292" cy="246221"/>
          </a:xfrm>
          <a:prstGeom prst="rect">
            <a:avLst/>
          </a:prstGeom>
          <a:noFill/>
        </p:spPr>
        <p:txBody>
          <a:bodyPr wrap="square" rtlCol="0">
            <a:spAutoFit/>
          </a:bodyPr>
          <a:lstStyle/>
          <a:p>
            <a:pPr algn="l"/>
            <a:r>
              <a:rPr lang="en-US" sz="1000" dirty="0"/>
              <a:t>API: Application Programming Interface</a:t>
            </a:r>
          </a:p>
        </p:txBody>
      </p:sp>
      <p:sp>
        <p:nvSpPr>
          <p:cNvPr id="10" name="Speech Bubble: Rectangle with Corners Rounded 9">
            <a:extLst>
              <a:ext uri="{FF2B5EF4-FFF2-40B4-BE49-F238E27FC236}">
                <a16:creationId xmlns:a16="http://schemas.microsoft.com/office/drawing/2014/main" id="{CF34FA7B-DF46-A7AB-C57A-4A569B62DA87}"/>
              </a:ext>
            </a:extLst>
          </p:cNvPr>
          <p:cNvSpPr/>
          <p:nvPr/>
        </p:nvSpPr>
        <p:spPr>
          <a:xfrm>
            <a:off x="4332430" y="2354151"/>
            <a:ext cx="2496412" cy="1792926"/>
          </a:xfrm>
          <a:prstGeom prst="wedgeRoundRectCallout">
            <a:avLst>
              <a:gd name="adj1" fmla="val 22659"/>
              <a:gd name="adj2" fmla="val 57837"/>
              <a:gd name="adj3" fmla="val 16667"/>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r>
              <a:rPr lang="en-US" sz="1600" dirty="0"/>
              <a:t>API abuse</a:t>
            </a:r>
          </a:p>
          <a:p>
            <a:pPr algn="l">
              <a:spcBef>
                <a:spcPts val="800"/>
              </a:spcBef>
            </a:pPr>
            <a:r>
              <a:rPr lang="en-US" sz="1600" dirty="0"/>
              <a:t>Data leakage of vehicle/user data</a:t>
            </a:r>
          </a:p>
          <a:p>
            <a:pPr algn="l">
              <a:spcBef>
                <a:spcPts val="800"/>
              </a:spcBef>
            </a:pPr>
            <a:r>
              <a:rPr lang="en-US" sz="1600" dirty="0"/>
              <a:t>Unauthorized access</a:t>
            </a:r>
          </a:p>
          <a:p>
            <a:pPr algn="l">
              <a:spcBef>
                <a:spcPts val="800"/>
              </a:spcBef>
            </a:pPr>
            <a:r>
              <a:rPr lang="en-US" sz="1600" dirty="0" err="1"/>
              <a:t>Bruteforce</a:t>
            </a:r>
            <a:r>
              <a:rPr lang="en-US" sz="1600" dirty="0"/>
              <a:t> attempts</a:t>
            </a:r>
          </a:p>
        </p:txBody>
      </p:sp>
      <p:cxnSp>
        <p:nvCxnSpPr>
          <p:cNvPr id="12" name="Straight Arrow Connector 11">
            <a:extLst>
              <a:ext uri="{FF2B5EF4-FFF2-40B4-BE49-F238E27FC236}">
                <a16:creationId xmlns:a16="http://schemas.microsoft.com/office/drawing/2014/main" id="{66EE8AC9-C17C-E7DF-9418-F00B1589B93F}"/>
              </a:ext>
            </a:extLst>
          </p:cNvPr>
          <p:cNvCxnSpPr>
            <a:cxnSpLocks/>
          </p:cNvCxnSpPr>
          <p:nvPr/>
        </p:nvCxnSpPr>
        <p:spPr>
          <a:xfrm flipH="1">
            <a:off x="3756317" y="4356211"/>
            <a:ext cx="4007765"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Speech Bubble: Rectangle with Corners Rounded 32">
            <a:extLst>
              <a:ext uri="{FF2B5EF4-FFF2-40B4-BE49-F238E27FC236}">
                <a16:creationId xmlns:a16="http://schemas.microsoft.com/office/drawing/2014/main" id="{A5A3A2A8-D236-D85B-3FFF-31F86756E380}"/>
              </a:ext>
            </a:extLst>
          </p:cNvPr>
          <p:cNvSpPr/>
          <p:nvPr/>
        </p:nvSpPr>
        <p:spPr>
          <a:xfrm>
            <a:off x="551856" y="1170265"/>
            <a:ext cx="2279775" cy="2095328"/>
          </a:xfrm>
          <a:prstGeom prst="wedgeRoundRectCallout">
            <a:avLst>
              <a:gd name="adj1" fmla="val -7785"/>
              <a:gd name="adj2" fmla="val 82309"/>
              <a:gd name="adj3" fmla="val 16667"/>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spcBef>
                <a:spcPts val="800"/>
              </a:spcBef>
            </a:pPr>
            <a:r>
              <a:rPr lang="en-US" sz="1600" dirty="0"/>
              <a:t>Exploit software vulnerabilities</a:t>
            </a:r>
          </a:p>
          <a:p>
            <a:pPr algn="l">
              <a:spcBef>
                <a:spcPts val="800"/>
              </a:spcBef>
            </a:pPr>
            <a:r>
              <a:rPr lang="en-US" sz="1600" dirty="0"/>
              <a:t>Replay attacks</a:t>
            </a:r>
          </a:p>
          <a:p>
            <a:pPr algn="l">
              <a:spcBef>
                <a:spcPts val="800"/>
              </a:spcBef>
            </a:pPr>
            <a:r>
              <a:rPr lang="en-US" sz="1600" dirty="0"/>
              <a:t>Spoofing</a:t>
            </a:r>
          </a:p>
          <a:p>
            <a:pPr algn="l">
              <a:spcBef>
                <a:spcPts val="800"/>
              </a:spcBef>
            </a:pPr>
            <a:r>
              <a:rPr lang="en-US" sz="1600" dirty="0"/>
              <a:t>Bypass/break weak authentication</a:t>
            </a:r>
          </a:p>
        </p:txBody>
      </p:sp>
      <p:sp>
        <p:nvSpPr>
          <p:cNvPr id="35" name="Isosceles Triangle 34">
            <a:extLst>
              <a:ext uri="{FF2B5EF4-FFF2-40B4-BE49-F238E27FC236}">
                <a16:creationId xmlns:a16="http://schemas.microsoft.com/office/drawing/2014/main" id="{0E279477-8042-1510-6FE2-633D8F7A27C4}"/>
              </a:ext>
            </a:extLst>
          </p:cNvPr>
          <p:cNvSpPr/>
          <p:nvPr/>
        </p:nvSpPr>
        <p:spPr>
          <a:xfrm rot="17096962">
            <a:off x="4082584" y="2600132"/>
            <a:ext cx="369427" cy="474629"/>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36" name="Isosceles Triangle 35">
            <a:extLst>
              <a:ext uri="{FF2B5EF4-FFF2-40B4-BE49-F238E27FC236}">
                <a16:creationId xmlns:a16="http://schemas.microsoft.com/office/drawing/2014/main" id="{153C3232-5DD3-7083-8821-020F38FB2303}"/>
              </a:ext>
            </a:extLst>
          </p:cNvPr>
          <p:cNvSpPr/>
          <p:nvPr/>
        </p:nvSpPr>
        <p:spPr>
          <a:xfrm rot="4503038" flipH="1">
            <a:off x="6703328" y="2576817"/>
            <a:ext cx="369427" cy="474629"/>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14" name="IAV Vehicle">
            <a:extLst>
              <a:ext uri="{FF2B5EF4-FFF2-40B4-BE49-F238E27FC236}">
                <a16:creationId xmlns:a16="http://schemas.microsoft.com/office/drawing/2014/main" id="{07F72C2E-C566-8F60-7A20-AFFAB502B831}"/>
              </a:ext>
            </a:extLst>
          </p:cNvPr>
          <p:cNvSpPr>
            <a:spLocks noChangeAspect="1" noEditPoints="1"/>
          </p:cNvSpPr>
          <p:nvPr/>
        </p:nvSpPr>
        <p:spPr bwMode="auto">
          <a:xfrm>
            <a:off x="719664" y="3776532"/>
            <a:ext cx="2917732" cy="1121569"/>
          </a:xfrm>
          <a:custGeom>
            <a:avLst/>
            <a:gdLst>
              <a:gd name="T0" fmla="*/ 652 w 783"/>
              <a:gd name="T1" fmla="*/ 176 h 301"/>
              <a:gd name="T2" fmla="*/ 590 w 783"/>
              <a:gd name="T3" fmla="*/ 238 h 301"/>
              <a:gd name="T4" fmla="*/ 652 w 783"/>
              <a:gd name="T5" fmla="*/ 301 h 301"/>
              <a:gd name="T6" fmla="*/ 715 w 783"/>
              <a:gd name="T7" fmla="*/ 238 h 301"/>
              <a:gd name="T8" fmla="*/ 652 w 783"/>
              <a:gd name="T9" fmla="*/ 176 h 301"/>
              <a:gd name="T10" fmla="*/ 652 w 783"/>
              <a:gd name="T11" fmla="*/ 278 h 301"/>
              <a:gd name="T12" fmla="*/ 613 w 783"/>
              <a:gd name="T13" fmla="*/ 238 h 301"/>
              <a:gd name="T14" fmla="*/ 652 w 783"/>
              <a:gd name="T15" fmla="*/ 199 h 301"/>
              <a:gd name="T16" fmla="*/ 692 w 783"/>
              <a:gd name="T17" fmla="*/ 238 h 301"/>
              <a:gd name="T18" fmla="*/ 652 w 783"/>
              <a:gd name="T19" fmla="*/ 278 h 301"/>
              <a:gd name="T20" fmla="*/ 142 w 783"/>
              <a:gd name="T21" fmla="*/ 176 h 301"/>
              <a:gd name="T22" fmla="*/ 80 w 783"/>
              <a:gd name="T23" fmla="*/ 238 h 301"/>
              <a:gd name="T24" fmla="*/ 142 w 783"/>
              <a:gd name="T25" fmla="*/ 301 h 301"/>
              <a:gd name="T26" fmla="*/ 204 w 783"/>
              <a:gd name="T27" fmla="*/ 238 h 301"/>
              <a:gd name="T28" fmla="*/ 142 w 783"/>
              <a:gd name="T29" fmla="*/ 176 h 301"/>
              <a:gd name="T30" fmla="*/ 142 w 783"/>
              <a:gd name="T31" fmla="*/ 278 h 301"/>
              <a:gd name="T32" fmla="*/ 102 w 783"/>
              <a:gd name="T33" fmla="*/ 238 h 301"/>
              <a:gd name="T34" fmla="*/ 142 w 783"/>
              <a:gd name="T35" fmla="*/ 199 h 301"/>
              <a:gd name="T36" fmla="*/ 182 w 783"/>
              <a:gd name="T37" fmla="*/ 238 h 301"/>
              <a:gd name="T38" fmla="*/ 142 w 783"/>
              <a:gd name="T39" fmla="*/ 278 h 301"/>
              <a:gd name="T40" fmla="*/ 572 w 783"/>
              <a:gd name="T41" fmla="*/ 89 h 301"/>
              <a:gd name="T42" fmla="*/ 543 w 783"/>
              <a:gd name="T43" fmla="*/ 73 h 301"/>
              <a:gd name="T44" fmla="*/ 415 w 783"/>
              <a:gd name="T45" fmla="*/ 17 h 301"/>
              <a:gd name="T46" fmla="*/ 176 w 783"/>
              <a:gd name="T47" fmla="*/ 50 h 301"/>
              <a:gd name="T48" fmla="*/ 39 w 783"/>
              <a:gd name="T49" fmla="*/ 88 h 301"/>
              <a:gd name="T50" fmla="*/ 35 w 783"/>
              <a:gd name="T51" fmla="*/ 90 h 301"/>
              <a:gd name="T52" fmla="*/ 0 w 783"/>
              <a:gd name="T53" fmla="*/ 250 h 301"/>
              <a:gd name="T54" fmla="*/ 6 w 783"/>
              <a:gd name="T55" fmla="*/ 256 h 301"/>
              <a:gd name="T56" fmla="*/ 71 w 783"/>
              <a:gd name="T57" fmla="*/ 256 h 301"/>
              <a:gd name="T58" fmla="*/ 68 w 783"/>
              <a:gd name="T59" fmla="*/ 238 h 301"/>
              <a:gd name="T60" fmla="*/ 142 w 783"/>
              <a:gd name="T61" fmla="*/ 165 h 301"/>
              <a:gd name="T62" fmla="*/ 216 w 783"/>
              <a:gd name="T63" fmla="*/ 238 h 301"/>
              <a:gd name="T64" fmla="*/ 213 w 783"/>
              <a:gd name="T65" fmla="*/ 257 h 301"/>
              <a:gd name="T66" fmla="*/ 582 w 783"/>
              <a:gd name="T67" fmla="*/ 260 h 301"/>
              <a:gd name="T68" fmla="*/ 579 w 783"/>
              <a:gd name="T69" fmla="*/ 238 h 301"/>
              <a:gd name="T70" fmla="*/ 652 w 783"/>
              <a:gd name="T71" fmla="*/ 165 h 301"/>
              <a:gd name="T72" fmla="*/ 726 w 783"/>
              <a:gd name="T73" fmla="*/ 238 h 301"/>
              <a:gd name="T74" fmla="*/ 723 w 783"/>
              <a:gd name="T75" fmla="*/ 261 h 301"/>
              <a:gd name="T76" fmla="*/ 777 w 783"/>
              <a:gd name="T77" fmla="*/ 261 h 301"/>
              <a:gd name="T78" fmla="*/ 777 w 783"/>
              <a:gd name="T79" fmla="*/ 261 h 301"/>
              <a:gd name="T80" fmla="*/ 781 w 783"/>
              <a:gd name="T81" fmla="*/ 259 h 301"/>
              <a:gd name="T82" fmla="*/ 783 w 783"/>
              <a:gd name="T83" fmla="*/ 255 h 301"/>
              <a:gd name="T84" fmla="*/ 572 w 783"/>
              <a:gd name="T85" fmla="*/ 89 h 301"/>
              <a:gd name="T86" fmla="*/ 505 w 783"/>
              <a:gd name="T87" fmla="*/ 108 h 301"/>
              <a:gd name="T88" fmla="*/ 165 w 783"/>
              <a:gd name="T89" fmla="*/ 88 h 301"/>
              <a:gd name="T90" fmla="*/ 369 w 783"/>
              <a:gd name="T91" fmla="*/ 29 h 301"/>
              <a:gd name="T92" fmla="*/ 505 w 783"/>
              <a:gd name="T93" fmla="*/ 108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83" h="301">
                <a:moveTo>
                  <a:pt x="652" y="176"/>
                </a:moveTo>
                <a:cubicBezTo>
                  <a:pt x="618" y="176"/>
                  <a:pt x="590" y="204"/>
                  <a:pt x="590" y="238"/>
                </a:cubicBezTo>
                <a:cubicBezTo>
                  <a:pt x="590" y="273"/>
                  <a:pt x="618" y="301"/>
                  <a:pt x="652" y="301"/>
                </a:cubicBezTo>
                <a:cubicBezTo>
                  <a:pt x="687" y="301"/>
                  <a:pt x="715" y="273"/>
                  <a:pt x="715" y="238"/>
                </a:cubicBezTo>
                <a:cubicBezTo>
                  <a:pt x="715" y="204"/>
                  <a:pt x="687" y="176"/>
                  <a:pt x="652" y="176"/>
                </a:cubicBezTo>
                <a:close/>
                <a:moveTo>
                  <a:pt x="652" y="278"/>
                </a:moveTo>
                <a:cubicBezTo>
                  <a:pt x="630" y="278"/>
                  <a:pt x="613" y="260"/>
                  <a:pt x="613" y="238"/>
                </a:cubicBezTo>
                <a:cubicBezTo>
                  <a:pt x="613" y="217"/>
                  <a:pt x="630" y="199"/>
                  <a:pt x="652" y="199"/>
                </a:cubicBezTo>
                <a:cubicBezTo>
                  <a:pt x="674" y="199"/>
                  <a:pt x="692" y="217"/>
                  <a:pt x="692" y="238"/>
                </a:cubicBezTo>
                <a:cubicBezTo>
                  <a:pt x="692" y="260"/>
                  <a:pt x="674" y="278"/>
                  <a:pt x="652" y="278"/>
                </a:cubicBezTo>
                <a:close/>
                <a:moveTo>
                  <a:pt x="142" y="176"/>
                </a:moveTo>
                <a:cubicBezTo>
                  <a:pt x="108" y="176"/>
                  <a:pt x="80" y="204"/>
                  <a:pt x="80" y="238"/>
                </a:cubicBezTo>
                <a:cubicBezTo>
                  <a:pt x="80" y="273"/>
                  <a:pt x="108" y="301"/>
                  <a:pt x="142" y="301"/>
                </a:cubicBezTo>
                <a:cubicBezTo>
                  <a:pt x="176" y="301"/>
                  <a:pt x="204" y="273"/>
                  <a:pt x="204" y="238"/>
                </a:cubicBezTo>
                <a:cubicBezTo>
                  <a:pt x="204" y="204"/>
                  <a:pt x="176" y="176"/>
                  <a:pt x="142" y="176"/>
                </a:cubicBezTo>
                <a:close/>
                <a:moveTo>
                  <a:pt x="142" y="278"/>
                </a:moveTo>
                <a:cubicBezTo>
                  <a:pt x="120" y="278"/>
                  <a:pt x="102" y="260"/>
                  <a:pt x="102" y="238"/>
                </a:cubicBezTo>
                <a:cubicBezTo>
                  <a:pt x="102" y="217"/>
                  <a:pt x="120" y="199"/>
                  <a:pt x="142" y="199"/>
                </a:cubicBezTo>
                <a:cubicBezTo>
                  <a:pt x="164" y="199"/>
                  <a:pt x="182" y="217"/>
                  <a:pt x="182" y="238"/>
                </a:cubicBezTo>
                <a:cubicBezTo>
                  <a:pt x="182" y="260"/>
                  <a:pt x="164" y="278"/>
                  <a:pt x="142" y="278"/>
                </a:cubicBezTo>
                <a:close/>
                <a:moveTo>
                  <a:pt x="572" y="89"/>
                </a:moveTo>
                <a:cubicBezTo>
                  <a:pt x="568" y="88"/>
                  <a:pt x="557" y="81"/>
                  <a:pt x="543" y="73"/>
                </a:cubicBezTo>
                <a:cubicBezTo>
                  <a:pt x="512" y="55"/>
                  <a:pt x="466" y="28"/>
                  <a:pt x="415" y="17"/>
                </a:cubicBezTo>
                <a:cubicBezTo>
                  <a:pt x="332" y="0"/>
                  <a:pt x="260" y="23"/>
                  <a:pt x="176" y="50"/>
                </a:cubicBezTo>
                <a:cubicBezTo>
                  <a:pt x="133" y="64"/>
                  <a:pt x="89" y="78"/>
                  <a:pt x="39" y="88"/>
                </a:cubicBezTo>
                <a:cubicBezTo>
                  <a:pt x="37" y="88"/>
                  <a:pt x="36" y="89"/>
                  <a:pt x="35" y="90"/>
                </a:cubicBezTo>
                <a:cubicBezTo>
                  <a:pt x="34" y="93"/>
                  <a:pt x="0" y="146"/>
                  <a:pt x="0" y="250"/>
                </a:cubicBezTo>
                <a:cubicBezTo>
                  <a:pt x="0" y="253"/>
                  <a:pt x="3" y="256"/>
                  <a:pt x="6" y="256"/>
                </a:cubicBezTo>
                <a:cubicBezTo>
                  <a:pt x="71" y="256"/>
                  <a:pt x="71" y="256"/>
                  <a:pt x="71" y="256"/>
                </a:cubicBezTo>
                <a:cubicBezTo>
                  <a:pt x="69" y="251"/>
                  <a:pt x="68" y="245"/>
                  <a:pt x="68" y="238"/>
                </a:cubicBezTo>
                <a:cubicBezTo>
                  <a:pt x="68" y="198"/>
                  <a:pt x="101" y="165"/>
                  <a:pt x="142" y="165"/>
                </a:cubicBezTo>
                <a:cubicBezTo>
                  <a:pt x="183" y="165"/>
                  <a:pt x="216" y="198"/>
                  <a:pt x="216" y="238"/>
                </a:cubicBezTo>
                <a:cubicBezTo>
                  <a:pt x="216" y="245"/>
                  <a:pt x="215" y="251"/>
                  <a:pt x="213" y="257"/>
                </a:cubicBezTo>
                <a:cubicBezTo>
                  <a:pt x="582" y="260"/>
                  <a:pt x="582" y="260"/>
                  <a:pt x="582" y="260"/>
                </a:cubicBezTo>
                <a:cubicBezTo>
                  <a:pt x="580" y="253"/>
                  <a:pt x="579" y="246"/>
                  <a:pt x="579" y="238"/>
                </a:cubicBezTo>
                <a:cubicBezTo>
                  <a:pt x="579" y="198"/>
                  <a:pt x="612" y="165"/>
                  <a:pt x="652" y="165"/>
                </a:cubicBezTo>
                <a:cubicBezTo>
                  <a:pt x="693" y="165"/>
                  <a:pt x="726" y="198"/>
                  <a:pt x="726" y="238"/>
                </a:cubicBezTo>
                <a:cubicBezTo>
                  <a:pt x="726" y="246"/>
                  <a:pt x="725" y="254"/>
                  <a:pt x="723" y="261"/>
                </a:cubicBezTo>
                <a:cubicBezTo>
                  <a:pt x="777" y="261"/>
                  <a:pt x="777" y="261"/>
                  <a:pt x="777" y="261"/>
                </a:cubicBezTo>
                <a:cubicBezTo>
                  <a:pt x="777" y="261"/>
                  <a:pt x="777" y="261"/>
                  <a:pt x="777" y="261"/>
                </a:cubicBezTo>
                <a:cubicBezTo>
                  <a:pt x="778" y="261"/>
                  <a:pt x="780" y="261"/>
                  <a:pt x="781" y="259"/>
                </a:cubicBezTo>
                <a:cubicBezTo>
                  <a:pt x="782" y="258"/>
                  <a:pt x="783" y="257"/>
                  <a:pt x="783" y="255"/>
                </a:cubicBezTo>
                <a:cubicBezTo>
                  <a:pt x="783" y="147"/>
                  <a:pt x="766" y="122"/>
                  <a:pt x="572" y="89"/>
                </a:cubicBezTo>
                <a:close/>
                <a:moveTo>
                  <a:pt x="505" y="108"/>
                </a:moveTo>
                <a:cubicBezTo>
                  <a:pt x="459" y="119"/>
                  <a:pt x="165" y="88"/>
                  <a:pt x="165" y="88"/>
                </a:cubicBezTo>
                <a:cubicBezTo>
                  <a:pt x="165" y="88"/>
                  <a:pt x="279" y="29"/>
                  <a:pt x="369" y="29"/>
                </a:cubicBezTo>
                <a:cubicBezTo>
                  <a:pt x="449" y="29"/>
                  <a:pt x="546" y="98"/>
                  <a:pt x="505" y="1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nvGrpSpPr>
          <p:cNvPr id="18" name="easyIcon">
            <a:extLst>
              <a:ext uri="{FF2B5EF4-FFF2-40B4-BE49-F238E27FC236}">
                <a16:creationId xmlns:a16="http://schemas.microsoft.com/office/drawing/2014/main" id="{5A7EFCD5-FBDD-AC7F-BDBF-B4264836D40A}"/>
              </a:ext>
            </a:extLst>
          </p:cNvPr>
          <p:cNvGrpSpPr>
            <a:grpSpLocks noChangeAspect="1"/>
          </p:cNvGrpSpPr>
          <p:nvPr>
            <p:custDataLst>
              <p:tags r:id="rId1"/>
            </p:custDataLst>
          </p:nvPr>
        </p:nvGrpSpPr>
        <p:grpSpPr>
          <a:xfrm>
            <a:off x="3503460" y="-432321"/>
            <a:ext cx="4525036" cy="4525036"/>
            <a:chOff x="264263" y="4620411"/>
            <a:chExt cx="1524000" cy="1524000"/>
          </a:xfrm>
        </p:grpSpPr>
        <p:sp>
          <p:nvSpPr>
            <p:cNvPr id="19" name="backgroundFixed">
              <a:extLst>
                <a:ext uri="{FF2B5EF4-FFF2-40B4-BE49-F238E27FC236}">
                  <a16:creationId xmlns:a16="http://schemas.microsoft.com/office/drawing/2014/main" id="{D2589921-D4C6-1F54-3B93-197EE7E2922B}"/>
                </a:ext>
              </a:extLst>
            </p:cNvPr>
            <p:cNvSpPr/>
            <p:nvPr>
              <p:custDataLst>
                <p:tags r:id="rId4"/>
              </p:custDataLst>
            </p:nvPr>
          </p:nvSpPr>
          <p:spPr>
            <a:xfrm>
              <a:off x="264263" y="4620411"/>
              <a:ext cx="1524000" cy="152400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20" name="Vector">
              <a:extLst>
                <a:ext uri="{FF2B5EF4-FFF2-40B4-BE49-F238E27FC236}">
                  <a16:creationId xmlns:a16="http://schemas.microsoft.com/office/drawing/2014/main" id="{2EB6DBB3-4C46-0ABD-700C-B1B345411AE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bwMode="gray">
            <a:xfrm>
              <a:off x="264263" y="4620411"/>
              <a:ext cx="1524000" cy="1524000"/>
            </a:xfrm>
            <a:prstGeom prst="rect">
              <a:avLst/>
            </a:prstGeom>
          </p:spPr>
        </p:pic>
      </p:grpSp>
      <p:grpSp>
        <p:nvGrpSpPr>
          <p:cNvPr id="22" name="easyIcon">
            <a:extLst>
              <a:ext uri="{FF2B5EF4-FFF2-40B4-BE49-F238E27FC236}">
                <a16:creationId xmlns:a16="http://schemas.microsoft.com/office/drawing/2014/main" id="{60923921-4B42-F26A-E91C-D28482248042}"/>
              </a:ext>
            </a:extLst>
          </p:cNvPr>
          <p:cNvGrpSpPr>
            <a:grpSpLocks noChangeAspect="1"/>
          </p:cNvGrpSpPr>
          <p:nvPr>
            <p:custDataLst>
              <p:tags r:id="rId2"/>
            </p:custDataLst>
          </p:nvPr>
        </p:nvGrpSpPr>
        <p:grpSpPr>
          <a:xfrm>
            <a:off x="8028496" y="2628019"/>
            <a:ext cx="2663988" cy="2663988"/>
            <a:chOff x="5925840" y="4248419"/>
            <a:chExt cx="720000" cy="720000"/>
          </a:xfrm>
        </p:grpSpPr>
        <p:sp>
          <p:nvSpPr>
            <p:cNvPr id="23" name="backgroundFixed">
              <a:extLst>
                <a:ext uri="{FF2B5EF4-FFF2-40B4-BE49-F238E27FC236}">
                  <a16:creationId xmlns:a16="http://schemas.microsoft.com/office/drawing/2014/main" id="{C39931C6-E976-4D0B-7E89-28B592576387}"/>
                </a:ext>
              </a:extLst>
            </p:cNvPr>
            <p:cNvSpPr/>
            <p:nvPr>
              <p:custDataLst>
                <p:tags r:id="rId3"/>
              </p:custDataLst>
            </p:nvPr>
          </p:nvSpPr>
          <p:spPr>
            <a:xfrm>
              <a:off x="5925840" y="4248419"/>
              <a:ext cx="720000" cy="72000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24" name="Vector">
              <a:extLst>
                <a:ext uri="{FF2B5EF4-FFF2-40B4-BE49-F238E27FC236}">
                  <a16:creationId xmlns:a16="http://schemas.microsoft.com/office/drawing/2014/main" id="{7EB44F0D-0D1E-2B90-B0BE-1407028417F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bwMode="gray">
            <a:xfrm>
              <a:off x="5925840" y="4248419"/>
              <a:ext cx="720000" cy="720000"/>
            </a:xfrm>
            <a:prstGeom prst="rect">
              <a:avLst/>
            </a:prstGeom>
          </p:spPr>
        </p:pic>
      </p:grpSp>
    </p:spTree>
    <p:extLst>
      <p:ext uri="{BB962C8B-B14F-4D97-AF65-F5344CB8AC3E}">
        <p14:creationId xmlns:p14="http://schemas.microsoft.com/office/powerpoint/2010/main" val="36630759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C3C6A-703A-29E4-4319-A426526CE50D}"/>
              </a:ext>
            </a:extLst>
          </p:cNvPr>
          <p:cNvSpPr>
            <a:spLocks noGrp="1"/>
          </p:cNvSpPr>
          <p:nvPr>
            <p:ph type="title"/>
          </p:nvPr>
        </p:nvSpPr>
        <p:spPr/>
        <p:txBody>
          <a:bodyPr/>
          <a:lstStyle/>
          <a:p>
            <a:r>
              <a:rPr lang="en-US" dirty="0"/>
              <a:t>Future Technologies – Quantum Computing</a:t>
            </a:r>
          </a:p>
        </p:txBody>
      </p:sp>
      <p:sp>
        <p:nvSpPr>
          <p:cNvPr id="4" name="Slide Number Placeholder 3">
            <a:extLst>
              <a:ext uri="{FF2B5EF4-FFF2-40B4-BE49-F238E27FC236}">
                <a16:creationId xmlns:a16="http://schemas.microsoft.com/office/drawing/2014/main" id="{4DA92FF1-8DE4-85CD-8FB5-BF05E6CC772E}"/>
              </a:ext>
            </a:extLst>
          </p:cNvPr>
          <p:cNvSpPr>
            <a:spLocks noGrp="1"/>
          </p:cNvSpPr>
          <p:nvPr>
            <p:ph type="sldNum" sz="quarter" idx="11"/>
          </p:nvPr>
        </p:nvSpPr>
        <p:spPr/>
        <p:txBody>
          <a:bodyPr/>
          <a:lstStyle/>
          <a:p>
            <a:fld id="{DD6C52D8-AF7F-4297-9A35-2617B7FF1801}" type="slidenum">
              <a:rPr lang="en-US" smtClean="0"/>
              <a:pPr/>
              <a:t>11</a:t>
            </a:fld>
            <a:endParaRPr lang="en-US" dirty="0"/>
          </a:p>
        </p:txBody>
      </p:sp>
      <p:pic>
        <p:nvPicPr>
          <p:cNvPr id="6" name="Picture 5">
            <a:extLst>
              <a:ext uri="{FF2B5EF4-FFF2-40B4-BE49-F238E27FC236}">
                <a16:creationId xmlns:a16="http://schemas.microsoft.com/office/drawing/2014/main" id="{157D9F5E-4EB9-546F-C79A-C8EFA5175008}"/>
              </a:ext>
            </a:extLst>
          </p:cNvPr>
          <p:cNvPicPr>
            <a:picLocks noChangeAspect="1"/>
          </p:cNvPicPr>
          <p:nvPr/>
        </p:nvPicPr>
        <p:blipFill>
          <a:blip r:embed="rId3"/>
          <a:srcRect b="45362"/>
          <a:stretch/>
        </p:blipFill>
        <p:spPr>
          <a:xfrm>
            <a:off x="448476" y="2369244"/>
            <a:ext cx="7769953" cy="1341261"/>
          </a:xfrm>
          <a:prstGeom prst="rect">
            <a:avLst/>
          </a:prstGeom>
        </p:spPr>
      </p:pic>
      <p:sp>
        <p:nvSpPr>
          <p:cNvPr id="7" name="TextBox 6">
            <a:extLst>
              <a:ext uri="{FF2B5EF4-FFF2-40B4-BE49-F238E27FC236}">
                <a16:creationId xmlns:a16="http://schemas.microsoft.com/office/drawing/2014/main" id="{EE06C55A-B81D-A8B1-8663-6C5875DB4E8E}"/>
              </a:ext>
            </a:extLst>
          </p:cNvPr>
          <p:cNvSpPr txBox="1"/>
          <p:nvPr/>
        </p:nvSpPr>
        <p:spPr>
          <a:xfrm>
            <a:off x="3203960" y="6016434"/>
            <a:ext cx="9541060" cy="375937"/>
          </a:xfrm>
          <a:prstGeom prst="rect">
            <a:avLst/>
          </a:prstGeom>
          <a:noFill/>
        </p:spPr>
        <p:txBody>
          <a:bodyPr wrap="square" lIns="0" tIns="0" rIns="0" bIns="0" rtlCol="0">
            <a:spAutoFit/>
          </a:bodyPr>
          <a:lstStyle/>
          <a:p>
            <a:pPr>
              <a:lnSpc>
                <a:spcPct val="120000"/>
              </a:lnSpc>
              <a:spcBef>
                <a:spcPts val="800"/>
              </a:spcBef>
            </a:pPr>
            <a:r>
              <a:rPr lang="en-US" sz="700" dirty="0">
                <a:solidFill>
                  <a:schemeClr val="bg1">
                    <a:lumMod val="65000"/>
                  </a:schemeClr>
                </a:solidFill>
              </a:rPr>
              <a:t>Ref: https://content.techgig.com/technology/the-dawn-of-quantum-computing-introducing-qnodeos-the-first-quantum-operating-system/articleshow/120586133.cms</a:t>
            </a:r>
            <a:br>
              <a:rPr lang="en-US" sz="700" dirty="0">
                <a:solidFill>
                  <a:schemeClr val="bg1">
                    <a:lumMod val="65000"/>
                  </a:schemeClr>
                </a:solidFill>
              </a:rPr>
            </a:br>
            <a:r>
              <a:rPr lang="en-US" sz="700" dirty="0">
                <a:solidFill>
                  <a:schemeClr val="bg1">
                    <a:lumMod val="65000"/>
                  </a:schemeClr>
                </a:solidFill>
              </a:rPr>
              <a:t>https://news.microsoft.com/source/features/innovation/microsofts-majorana-1-chip-carves-new-path-for-quantum-computing/</a:t>
            </a:r>
            <a:br>
              <a:rPr lang="en-US" sz="700" dirty="0">
                <a:solidFill>
                  <a:schemeClr val="bg1">
                    <a:lumMod val="65000"/>
                  </a:schemeClr>
                </a:solidFill>
              </a:rPr>
            </a:br>
            <a:r>
              <a:rPr lang="en-US" sz="700" dirty="0">
                <a:solidFill>
                  <a:schemeClr val="bg1">
                    <a:lumMod val="65000"/>
                  </a:schemeClr>
                </a:solidFill>
              </a:rPr>
              <a:t>https://www.fujitsu.com/global/about/resources/news/press-releases/2025/0422-01.html</a:t>
            </a:r>
          </a:p>
        </p:txBody>
      </p:sp>
      <p:pic>
        <p:nvPicPr>
          <p:cNvPr id="9" name="Picture 8">
            <a:extLst>
              <a:ext uri="{FF2B5EF4-FFF2-40B4-BE49-F238E27FC236}">
                <a16:creationId xmlns:a16="http://schemas.microsoft.com/office/drawing/2014/main" id="{151BE9C6-9BA8-0FFC-CB30-38F8F0971791}"/>
              </a:ext>
            </a:extLst>
          </p:cNvPr>
          <p:cNvPicPr>
            <a:picLocks noChangeAspect="1"/>
          </p:cNvPicPr>
          <p:nvPr/>
        </p:nvPicPr>
        <p:blipFill>
          <a:blip r:embed="rId4"/>
          <a:stretch>
            <a:fillRect/>
          </a:stretch>
        </p:blipFill>
        <p:spPr>
          <a:xfrm>
            <a:off x="448476" y="1029612"/>
            <a:ext cx="7634648" cy="1067622"/>
          </a:xfrm>
          <a:prstGeom prst="rect">
            <a:avLst/>
          </a:prstGeom>
        </p:spPr>
      </p:pic>
      <p:pic>
        <p:nvPicPr>
          <p:cNvPr id="11" name="Picture 10">
            <a:extLst>
              <a:ext uri="{FF2B5EF4-FFF2-40B4-BE49-F238E27FC236}">
                <a16:creationId xmlns:a16="http://schemas.microsoft.com/office/drawing/2014/main" id="{167699BF-EA73-5F36-15B2-077FC4D321FA}"/>
              </a:ext>
            </a:extLst>
          </p:cNvPr>
          <p:cNvPicPr>
            <a:picLocks noChangeAspect="1"/>
          </p:cNvPicPr>
          <p:nvPr/>
        </p:nvPicPr>
        <p:blipFill>
          <a:blip r:embed="rId5"/>
          <a:srcRect b="35398"/>
          <a:stretch/>
        </p:blipFill>
        <p:spPr>
          <a:xfrm>
            <a:off x="8229390" y="1016296"/>
            <a:ext cx="1381318" cy="1181602"/>
          </a:xfrm>
          <a:prstGeom prst="rect">
            <a:avLst/>
          </a:prstGeom>
        </p:spPr>
      </p:pic>
      <p:sp>
        <p:nvSpPr>
          <p:cNvPr id="12" name="Rectangle: Rounded Corners 11">
            <a:extLst>
              <a:ext uri="{FF2B5EF4-FFF2-40B4-BE49-F238E27FC236}">
                <a16:creationId xmlns:a16="http://schemas.microsoft.com/office/drawing/2014/main" id="{C344FF6F-BC0A-A1FA-BC76-EAE2D34DC9B2}"/>
              </a:ext>
            </a:extLst>
          </p:cNvPr>
          <p:cNvSpPr/>
          <p:nvPr/>
        </p:nvSpPr>
        <p:spPr>
          <a:xfrm>
            <a:off x="8226918" y="1816827"/>
            <a:ext cx="1381318" cy="352653"/>
          </a:xfrm>
          <a:prstGeom prst="roundRect">
            <a:avLst/>
          </a:prstGeom>
          <a:solidFill>
            <a:srgbClr val="FFD8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13" name="Rectangle: Rounded Corners 12">
            <a:extLst>
              <a:ext uri="{FF2B5EF4-FFF2-40B4-BE49-F238E27FC236}">
                <a16:creationId xmlns:a16="http://schemas.microsoft.com/office/drawing/2014/main" id="{E4E252F2-3B7E-1274-4A1E-3E121D841307}"/>
              </a:ext>
            </a:extLst>
          </p:cNvPr>
          <p:cNvSpPr/>
          <p:nvPr/>
        </p:nvSpPr>
        <p:spPr>
          <a:xfrm>
            <a:off x="1344134" y="3320823"/>
            <a:ext cx="1008112" cy="352653"/>
          </a:xfrm>
          <a:prstGeom prst="roundRect">
            <a:avLst/>
          </a:prstGeom>
          <a:solidFill>
            <a:srgbClr val="FFD8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14" name="Rectangle: Rounded Corners 13">
            <a:extLst>
              <a:ext uri="{FF2B5EF4-FFF2-40B4-BE49-F238E27FC236}">
                <a16:creationId xmlns:a16="http://schemas.microsoft.com/office/drawing/2014/main" id="{9FFDD246-2069-85F5-BDE4-300D3F90C14B}"/>
              </a:ext>
            </a:extLst>
          </p:cNvPr>
          <p:cNvSpPr/>
          <p:nvPr/>
        </p:nvSpPr>
        <p:spPr>
          <a:xfrm>
            <a:off x="1007716" y="5316168"/>
            <a:ext cx="9397044" cy="52908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en-US" sz="2000" dirty="0"/>
              <a:t>New advancements in Quantum Computing</a:t>
            </a:r>
          </a:p>
        </p:txBody>
      </p:sp>
      <p:pic>
        <p:nvPicPr>
          <p:cNvPr id="16" name="Picture 15">
            <a:extLst>
              <a:ext uri="{FF2B5EF4-FFF2-40B4-BE49-F238E27FC236}">
                <a16:creationId xmlns:a16="http://schemas.microsoft.com/office/drawing/2014/main" id="{37D816FF-2BA0-BF02-F69F-77B45D448FB0}"/>
              </a:ext>
            </a:extLst>
          </p:cNvPr>
          <p:cNvPicPr>
            <a:picLocks noChangeAspect="1"/>
          </p:cNvPicPr>
          <p:nvPr/>
        </p:nvPicPr>
        <p:blipFill>
          <a:blip r:embed="rId6"/>
          <a:stretch>
            <a:fillRect/>
          </a:stretch>
        </p:blipFill>
        <p:spPr>
          <a:xfrm>
            <a:off x="538106" y="4010548"/>
            <a:ext cx="9043077" cy="1040274"/>
          </a:xfrm>
          <a:prstGeom prst="rect">
            <a:avLst/>
          </a:prstGeom>
        </p:spPr>
      </p:pic>
      <p:pic>
        <p:nvPicPr>
          <p:cNvPr id="18" name="Picture 17">
            <a:extLst>
              <a:ext uri="{FF2B5EF4-FFF2-40B4-BE49-F238E27FC236}">
                <a16:creationId xmlns:a16="http://schemas.microsoft.com/office/drawing/2014/main" id="{DEE4BFC7-577D-CCB7-8AF8-A5C5047487D0}"/>
              </a:ext>
            </a:extLst>
          </p:cNvPr>
          <p:cNvPicPr>
            <a:picLocks noChangeAspect="1"/>
          </p:cNvPicPr>
          <p:nvPr/>
        </p:nvPicPr>
        <p:blipFill>
          <a:blip r:embed="rId7"/>
          <a:srcRect t="68266"/>
          <a:stretch/>
        </p:blipFill>
        <p:spPr>
          <a:xfrm>
            <a:off x="8171927" y="4604364"/>
            <a:ext cx="2698475" cy="317074"/>
          </a:xfrm>
          <a:prstGeom prst="rect">
            <a:avLst/>
          </a:prstGeom>
        </p:spPr>
      </p:pic>
      <p:sp>
        <p:nvSpPr>
          <p:cNvPr id="19" name="Rectangle: Rounded Corners 18">
            <a:extLst>
              <a:ext uri="{FF2B5EF4-FFF2-40B4-BE49-F238E27FC236}">
                <a16:creationId xmlns:a16="http://schemas.microsoft.com/office/drawing/2014/main" id="{53457E45-C265-42AA-1A30-841A2EA42C07}"/>
              </a:ext>
            </a:extLst>
          </p:cNvPr>
          <p:cNvSpPr/>
          <p:nvPr/>
        </p:nvSpPr>
        <p:spPr>
          <a:xfrm>
            <a:off x="9900703" y="4604364"/>
            <a:ext cx="969699" cy="352653"/>
          </a:xfrm>
          <a:prstGeom prst="roundRect">
            <a:avLst/>
          </a:prstGeom>
          <a:solidFill>
            <a:srgbClr val="FFD8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20" name="Rectangle: Rounded Corners 19">
            <a:extLst>
              <a:ext uri="{FF2B5EF4-FFF2-40B4-BE49-F238E27FC236}">
                <a16:creationId xmlns:a16="http://schemas.microsoft.com/office/drawing/2014/main" id="{7741613C-89DB-8752-16E9-598136F65780}"/>
              </a:ext>
            </a:extLst>
          </p:cNvPr>
          <p:cNvSpPr/>
          <p:nvPr/>
        </p:nvSpPr>
        <p:spPr>
          <a:xfrm>
            <a:off x="2757162" y="1052401"/>
            <a:ext cx="3002288" cy="495498"/>
          </a:xfrm>
          <a:prstGeom prst="roundRect">
            <a:avLst/>
          </a:prstGeom>
          <a:solidFill>
            <a:srgbClr val="FFD8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21" name="Rectangle: Rounded Corners 20">
            <a:extLst>
              <a:ext uri="{FF2B5EF4-FFF2-40B4-BE49-F238E27FC236}">
                <a16:creationId xmlns:a16="http://schemas.microsoft.com/office/drawing/2014/main" id="{AFDAFDA5-3A97-94CA-0F7E-89843B9BF3FF}"/>
              </a:ext>
            </a:extLst>
          </p:cNvPr>
          <p:cNvSpPr/>
          <p:nvPr/>
        </p:nvSpPr>
        <p:spPr>
          <a:xfrm>
            <a:off x="4205094" y="2348261"/>
            <a:ext cx="2491254" cy="495498"/>
          </a:xfrm>
          <a:prstGeom prst="roundRect">
            <a:avLst/>
          </a:prstGeom>
          <a:solidFill>
            <a:srgbClr val="FFD8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22" name="Rectangle: Rounded Corners 21">
            <a:extLst>
              <a:ext uri="{FF2B5EF4-FFF2-40B4-BE49-F238E27FC236}">
                <a16:creationId xmlns:a16="http://schemas.microsoft.com/office/drawing/2014/main" id="{2C8D58BB-0C03-2D7D-F3C5-3AF08B9510DF}"/>
              </a:ext>
            </a:extLst>
          </p:cNvPr>
          <p:cNvSpPr/>
          <p:nvPr/>
        </p:nvSpPr>
        <p:spPr>
          <a:xfrm>
            <a:off x="538106" y="2761507"/>
            <a:ext cx="3133906" cy="495498"/>
          </a:xfrm>
          <a:prstGeom prst="roundRect">
            <a:avLst/>
          </a:prstGeom>
          <a:solidFill>
            <a:srgbClr val="FFD8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23" name="Rectangle: Rounded Corners 22">
            <a:extLst>
              <a:ext uri="{FF2B5EF4-FFF2-40B4-BE49-F238E27FC236}">
                <a16:creationId xmlns:a16="http://schemas.microsoft.com/office/drawing/2014/main" id="{B13459BD-9948-9D24-0801-8838D238B204}"/>
              </a:ext>
            </a:extLst>
          </p:cNvPr>
          <p:cNvSpPr/>
          <p:nvPr/>
        </p:nvSpPr>
        <p:spPr>
          <a:xfrm>
            <a:off x="5256187" y="3988847"/>
            <a:ext cx="4324995" cy="495498"/>
          </a:xfrm>
          <a:prstGeom prst="roundRect">
            <a:avLst/>
          </a:prstGeom>
          <a:solidFill>
            <a:srgbClr val="FFD8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5" name="Footer Placeholder 2">
            <a:extLst>
              <a:ext uri="{FF2B5EF4-FFF2-40B4-BE49-F238E27FC236}">
                <a16:creationId xmlns:a16="http://schemas.microsoft.com/office/drawing/2014/main" id="{DAC293D0-DBE0-E83D-22C7-D92F72A9F838}"/>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spTree>
    <p:extLst>
      <p:ext uri="{BB962C8B-B14F-4D97-AF65-F5344CB8AC3E}">
        <p14:creationId xmlns:p14="http://schemas.microsoft.com/office/powerpoint/2010/main" val="18460528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7A131A1-1A99-E394-E639-A91C3286DD1F}"/>
              </a:ext>
            </a:extLst>
          </p:cNvPr>
          <p:cNvSpPr/>
          <p:nvPr/>
        </p:nvSpPr>
        <p:spPr>
          <a:xfrm>
            <a:off x="539664" y="1295401"/>
            <a:ext cx="5040399" cy="3804842"/>
          </a:xfrm>
          <a:prstGeom prst="rect">
            <a:avLst/>
          </a:prstGeom>
          <a:solidFill>
            <a:schemeClr val="tx2">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12" name="Rectangle 11">
            <a:extLst>
              <a:ext uri="{FF2B5EF4-FFF2-40B4-BE49-F238E27FC236}">
                <a16:creationId xmlns:a16="http://schemas.microsoft.com/office/drawing/2014/main" id="{97222CE0-C4D4-0666-2B02-65849E12F345}"/>
              </a:ext>
            </a:extLst>
          </p:cNvPr>
          <p:cNvSpPr/>
          <p:nvPr/>
        </p:nvSpPr>
        <p:spPr>
          <a:xfrm>
            <a:off x="5939851" y="1295401"/>
            <a:ext cx="5040399" cy="3804842"/>
          </a:xfrm>
          <a:prstGeom prst="rect">
            <a:avLst/>
          </a:prstGeom>
          <a:solidFill>
            <a:schemeClr val="tx2">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5" name="Title 4">
            <a:extLst>
              <a:ext uri="{FF2B5EF4-FFF2-40B4-BE49-F238E27FC236}">
                <a16:creationId xmlns:a16="http://schemas.microsoft.com/office/drawing/2014/main" id="{899DCF3C-FDF0-F2EC-4752-ACE9690FDDD4}"/>
              </a:ext>
            </a:extLst>
          </p:cNvPr>
          <p:cNvSpPr>
            <a:spLocks noGrp="1"/>
          </p:cNvSpPr>
          <p:nvPr>
            <p:ph type="title"/>
          </p:nvPr>
        </p:nvSpPr>
        <p:spPr/>
        <p:txBody>
          <a:bodyPr/>
          <a:lstStyle/>
          <a:p>
            <a:r>
              <a:rPr lang="en-US" dirty="0"/>
              <a:t>Quantum Computing Impact on Cybersecurity</a:t>
            </a:r>
          </a:p>
        </p:txBody>
      </p:sp>
      <p:sp>
        <p:nvSpPr>
          <p:cNvPr id="6" name="Content Placeholder 5">
            <a:extLst>
              <a:ext uri="{FF2B5EF4-FFF2-40B4-BE49-F238E27FC236}">
                <a16:creationId xmlns:a16="http://schemas.microsoft.com/office/drawing/2014/main" id="{63293545-7AF4-E8FF-9593-E52C42C9530D}"/>
              </a:ext>
            </a:extLst>
          </p:cNvPr>
          <p:cNvSpPr>
            <a:spLocks noGrp="1"/>
          </p:cNvSpPr>
          <p:nvPr>
            <p:ph sz="quarter" idx="12"/>
          </p:nvPr>
        </p:nvSpPr>
        <p:spPr>
          <a:xfrm>
            <a:off x="539750" y="1848833"/>
            <a:ext cx="5040886" cy="3983641"/>
          </a:xfrm>
        </p:spPr>
        <p:txBody>
          <a:bodyPr/>
          <a:lstStyle/>
          <a:p>
            <a:r>
              <a:rPr lang="en-US" dirty="0"/>
              <a:t>Can factor large integers </a:t>
            </a:r>
            <a:r>
              <a:rPr lang="en-US" dirty="0">
                <a:solidFill>
                  <a:schemeClr val="accent5"/>
                </a:solidFill>
              </a:rPr>
              <a:t>exponentially</a:t>
            </a:r>
            <a:r>
              <a:rPr lang="en-US" dirty="0"/>
              <a:t> faster than best-known classical algorithms</a:t>
            </a:r>
          </a:p>
          <a:p>
            <a:endParaRPr lang="en-US" dirty="0"/>
          </a:p>
          <a:p>
            <a:r>
              <a:rPr lang="en-US" dirty="0"/>
              <a:t>Affects: </a:t>
            </a:r>
            <a:r>
              <a:rPr lang="en-US" dirty="0">
                <a:solidFill>
                  <a:schemeClr val="accent5"/>
                </a:solidFill>
              </a:rPr>
              <a:t>Asymmetric</a:t>
            </a:r>
            <a:r>
              <a:rPr lang="en-US" dirty="0"/>
              <a:t> encryption algorithms that rely on the difficulty of factoring large integers or finding discrete logarithms</a:t>
            </a:r>
          </a:p>
          <a:p>
            <a:pPr marL="0" indent="0">
              <a:buNone/>
            </a:pPr>
            <a:endParaRPr lang="en-US" dirty="0"/>
          </a:p>
          <a:p>
            <a:r>
              <a:rPr lang="en-US" dirty="0"/>
              <a:t>Result: </a:t>
            </a:r>
            <a:r>
              <a:rPr lang="en-US" dirty="0">
                <a:solidFill>
                  <a:schemeClr val="accent5"/>
                </a:solidFill>
              </a:rPr>
              <a:t>Big threat</a:t>
            </a:r>
            <a:r>
              <a:rPr lang="en-US" dirty="0"/>
              <a:t> – e.g., </a:t>
            </a:r>
            <a:r>
              <a:rPr lang="en-US" dirty="0">
                <a:solidFill>
                  <a:schemeClr val="accent5"/>
                </a:solidFill>
              </a:rPr>
              <a:t>RSA</a:t>
            </a:r>
            <a:r>
              <a:rPr lang="en-US" dirty="0"/>
              <a:t> and </a:t>
            </a:r>
            <a:r>
              <a:rPr lang="en-US" dirty="0">
                <a:solidFill>
                  <a:schemeClr val="accent5"/>
                </a:solidFill>
              </a:rPr>
              <a:t>ECC</a:t>
            </a:r>
            <a:r>
              <a:rPr lang="en-US" dirty="0"/>
              <a:t> could be </a:t>
            </a:r>
            <a:r>
              <a:rPr lang="en-US" dirty="0">
                <a:solidFill>
                  <a:schemeClr val="accent5"/>
                </a:solidFill>
              </a:rPr>
              <a:t>completely broken</a:t>
            </a:r>
            <a:r>
              <a:rPr lang="en-US" dirty="0"/>
              <a:t> – private keys can be extracted from public keys</a:t>
            </a:r>
          </a:p>
          <a:p>
            <a:pPr marL="0" indent="0">
              <a:buNone/>
            </a:pPr>
            <a:endParaRPr lang="en-US" dirty="0"/>
          </a:p>
        </p:txBody>
      </p:sp>
      <p:sp>
        <p:nvSpPr>
          <p:cNvPr id="7" name="Content Placeholder 6">
            <a:extLst>
              <a:ext uri="{FF2B5EF4-FFF2-40B4-BE49-F238E27FC236}">
                <a16:creationId xmlns:a16="http://schemas.microsoft.com/office/drawing/2014/main" id="{F9057DCB-EE69-7565-B8EB-14F6D65D4787}"/>
              </a:ext>
            </a:extLst>
          </p:cNvPr>
          <p:cNvSpPr>
            <a:spLocks noGrp="1"/>
          </p:cNvSpPr>
          <p:nvPr>
            <p:ph sz="quarter" idx="13"/>
          </p:nvPr>
        </p:nvSpPr>
        <p:spPr>
          <a:xfrm>
            <a:off x="5940424" y="1848833"/>
            <a:ext cx="5040313" cy="3983642"/>
          </a:xfrm>
        </p:spPr>
        <p:txBody>
          <a:bodyPr/>
          <a:lstStyle/>
          <a:p>
            <a:r>
              <a:rPr lang="en-US" dirty="0"/>
              <a:t>Can speed up </a:t>
            </a:r>
            <a:r>
              <a:rPr lang="en-US" dirty="0" err="1"/>
              <a:t>bruteforce</a:t>
            </a:r>
            <a:r>
              <a:rPr lang="en-US" dirty="0"/>
              <a:t> attacks (but only by a </a:t>
            </a:r>
            <a:r>
              <a:rPr lang="en-US" dirty="0">
                <a:solidFill>
                  <a:schemeClr val="accent5"/>
                </a:solidFill>
              </a:rPr>
              <a:t>square root</a:t>
            </a:r>
            <a:r>
              <a:rPr lang="en-US" dirty="0"/>
              <a:t>)</a:t>
            </a:r>
          </a:p>
          <a:p>
            <a:endParaRPr lang="en-US" dirty="0"/>
          </a:p>
          <a:p>
            <a:r>
              <a:rPr lang="en-US" dirty="0"/>
              <a:t>Affects: </a:t>
            </a:r>
            <a:r>
              <a:rPr lang="en-US" dirty="0">
                <a:solidFill>
                  <a:schemeClr val="accent5"/>
                </a:solidFill>
              </a:rPr>
              <a:t>Symmetric </a:t>
            </a:r>
            <a:r>
              <a:rPr lang="en-US" dirty="0"/>
              <a:t>encryption algorithms that rely on key size and infeasibility of </a:t>
            </a:r>
            <a:r>
              <a:rPr lang="en-US" dirty="0" err="1"/>
              <a:t>bruteforcing</a:t>
            </a:r>
            <a:r>
              <a:rPr lang="en-US" dirty="0"/>
              <a:t> all possible keys</a:t>
            </a:r>
          </a:p>
          <a:p>
            <a:endParaRPr lang="en-US" dirty="0"/>
          </a:p>
          <a:p>
            <a:r>
              <a:rPr lang="en-US" dirty="0"/>
              <a:t>Result: </a:t>
            </a:r>
            <a:r>
              <a:rPr lang="en-US" dirty="0">
                <a:solidFill>
                  <a:schemeClr val="accent5"/>
                </a:solidFill>
              </a:rPr>
              <a:t>Partial threat</a:t>
            </a:r>
            <a:r>
              <a:rPr lang="en-US" dirty="0"/>
              <a:t> – e.g., </a:t>
            </a:r>
            <a:r>
              <a:rPr lang="en-US" dirty="0">
                <a:solidFill>
                  <a:schemeClr val="accent5"/>
                </a:solidFill>
              </a:rPr>
              <a:t>AES-128</a:t>
            </a:r>
            <a:r>
              <a:rPr lang="en-US" dirty="0"/>
              <a:t> would be </a:t>
            </a:r>
            <a:r>
              <a:rPr lang="en-US" dirty="0">
                <a:solidFill>
                  <a:schemeClr val="accent5"/>
                </a:solidFill>
              </a:rPr>
              <a:t>weakened to half the security</a:t>
            </a:r>
            <a:r>
              <a:rPr lang="en-US" dirty="0"/>
              <a:t> (64-bit strength)</a:t>
            </a:r>
          </a:p>
        </p:txBody>
      </p:sp>
      <p:sp>
        <p:nvSpPr>
          <p:cNvPr id="3" name="Footer Placeholder 2">
            <a:extLst>
              <a:ext uri="{FF2B5EF4-FFF2-40B4-BE49-F238E27FC236}">
                <a16:creationId xmlns:a16="http://schemas.microsoft.com/office/drawing/2014/main" id="{874A8F47-D5E1-E818-1639-52F933F82DD3}"/>
              </a:ext>
            </a:extLst>
          </p:cNvPr>
          <p:cNvSpPr>
            <a:spLocks noGrp="1"/>
          </p:cNvSpPr>
          <p:nvPr>
            <p:ph type="ftr" sz="quarter" idx="3"/>
          </p:nvPr>
        </p:nvSpPr>
        <p:spPr/>
        <p:txBody>
          <a:bodyPr/>
          <a:lstStyle/>
          <a:p>
            <a:r>
              <a:rPr lang="en-US" dirty="0"/>
              <a:t>IAV  05/2025  IAVJ  DKO  Status: draft, confidential</a:t>
            </a:r>
          </a:p>
        </p:txBody>
      </p:sp>
      <p:sp>
        <p:nvSpPr>
          <p:cNvPr id="4" name="Slide Number Placeholder 3">
            <a:extLst>
              <a:ext uri="{FF2B5EF4-FFF2-40B4-BE49-F238E27FC236}">
                <a16:creationId xmlns:a16="http://schemas.microsoft.com/office/drawing/2014/main" id="{A83A4882-21CB-D366-FF90-1D62805B802C}"/>
              </a:ext>
            </a:extLst>
          </p:cNvPr>
          <p:cNvSpPr>
            <a:spLocks noGrp="1"/>
          </p:cNvSpPr>
          <p:nvPr>
            <p:ph type="sldNum" sz="quarter" idx="4"/>
          </p:nvPr>
        </p:nvSpPr>
        <p:spPr/>
        <p:txBody>
          <a:bodyPr/>
          <a:lstStyle/>
          <a:p>
            <a:fld id="{DD6C52D8-AF7F-4297-9A35-2617B7FF1801}" type="slidenum">
              <a:rPr lang="en-US" smtClean="0"/>
              <a:pPr/>
              <a:t>12</a:t>
            </a:fld>
            <a:endParaRPr lang="en-US" dirty="0"/>
          </a:p>
        </p:txBody>
      </p:sp>
      <p:sp>
        <p:nvSpPr>
          <p:cNvPr id="8" name="Rectangle: Rounded Corners 7">
            <a:extLst>
              <a:ext uri="{FF2B5EF4-FFF2-40B4-BE49-F238E27FC236}">
                <a16:creationId xmlns:a16="http://schemas.microsoft.com/office/drawing/2014/main" id="{AA91A89A-D224-FD48-4ED0-04AF40127713}"/>
              </a:ext>
            </a:extLst>
          </p:cNvPr>
          <p:cNvSpPr/>
          <p:nvPr/>
        </p:nvSpPr>
        <p:spPr>
          <a:xfrm>
            <a:off x="1007716" y="5316168"/>
            <a:ext cx="9397044" cy="52908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en-US" sz="2000" dirty="0"/>
              <a:t>Quantum Computing has severe impact on Cybersecurity</a:t>
            </a:r>
          </a:p>
        </p:txBody>
      </p:sp>
      <p:sp>
        <p:nvSpPr>
          <p:cNvPr id="9" name="Rectangle: Rounded Corners 8">
            <a:extLst>
              <a:ext uri="{FF2B5EF4-FFF2-40B4-BE49-F238E27FC236}">
                <a16:creationId xmlns:a16="http://schemas.microsoft.com/office/drawing/2014/main" id="{BB9DFFAD-D4D5-3A74-18A1-0EF4B7BB7F28}"/>
              </a:ext>
            </a:extLst>
          </p:cNvPr>
          <p:cNvSpPr/>
          <p:nvPr/>
        </p:nvSpPr>
        <p:spPr>
          <a:xfrm>
            <a:off x="539750" y="1295401"/>
            <a:ext cx="5040313" cy="553432"/>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en-US" sz="1800" dirty="0"/>
              <a:t>Shor’s algorithm</a:t>
            </a:r>
          </a:p>
        </p:txBody>
      </p:sp>
      <p:sp>
        <p:nvSpPr>
          <p:cNvPr id="10" name="Rectangle: Rounded Corners 9">
            <a:extLst>
              <a:ext uri="{FF2B5EF4-FFF2-40B4-BE49-F238E27FC236}">
                <a16:creationId xmlns:a16="http://schemas.microsoft.com/office/drawing/2014/main" id="{2E18375A-F211-8779-0DB3-5701B10CB2B4}"/>
              </a:ext>
            </a:extLst>
          </p:cNvPr>
          <p:cNvSpPr/>
          <p:nvPr/>
        </p:nvSpPr>
        <p:spPr>
          <a:xfrm>
            <a:off x="5940425" y="1295401"/>
            <a:ext cx="5040313" cy="553432"/>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en-US" sz="1800" dirty="0"/>
              <a:t>Grover’s algorithm</a:t>
            </a:r>
          </a:p>
        </p:txBody>
      </p:sp>
      <p:sp>
        <p:nvSpPr>
          <p:cNvPr id="13" name="TextBox 12">
            <a:extLst>
              <a:ext uri="{FF2B5EF4-FFF2-40B4-BE49-F238E27FC236}">
                <a16:creationId xmlns:a16="http://schemas.microsoft.com/office/drawing/2014/main" id="{D9B56116-FF0E-EDDC-E7FC-E13FE1D2D946}"/>
              </a:ext>
            </a:extLst>
          </p:cNvPr>
          <p:cNvSpPr txBox="1"/>
          <p:nvPr/>
        </p:nvSpPr>
        <p:spPr>
          <a:xfrm>
            <a:off x="9199201" y="-1"/>
            <a:ext cx="3138292" cy="553998"/>
          </a:xfrm>
          <a:prstGeom prst="rect">
            <a:avLst/>
          </a:prstGeom>
          <a:noFill/>
        </p:spPr>
        <p:txBody>
          <a:bodyPr wrap="square" rtlCol="0">
            <a:spAutoFit/>
          </a:bodyPr>
          <a:lstStyle/>
          <a:p>
            <a:r>
              <a:rPr lang="en-US" sz="1000" dirty="0"/>
              <a:t>RSA: Rivest Shamir Adleman</a:t>
            </a:r>
          </a:p>
          <a:p>
            <a:pPr algn="l"/>
            <a:r>
              <a:rPr lang="en-US" sz="1000" dirty="0"/>
              <a:t>ECC: Elliptic Curve Cryptography</a:t>
            </a:r>
          </a:p>
          <a:p>
            <a:pPr algn="l"/>
            <a:r>
              <a:rPr lang="en-US" sz="1000" dirty="0"/>
              <a:t>AES: Advanced Encryption Standard</a:t>
            </a:r>
          </a:p>
        </p:txBody>
      </p:sp>
    </p:spTree>
    <p:extLst>
      <p:ext uri="{BB962C8B-B14F-4D97-AF65-F5344CB8AC3E}">
        <p14:creationId xmlns:p14="http://schemas.microsoft.com/office/powerpoint/2010/main" val="18497947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706596-DE26-3D9A-8AA0-1193740739AB}"/>
              </a:ext>
            </a:extLst>
          </p:cNvPr>
          <p:cNvSpPr>
            <a:spLocks noGrp="1"/>
          </p:cNvSpPr>
          <p:nvPr>
            <p:ph type="title"/>
          </p:nvPr>
        </p:nvSpPr>
        <p:spPr/>
        <p:txBody>
          <a:bodyPr/>
          <a:lstStyle/>
          <a:p>
            <a:r>
              <a:rPr lang="en-US" dirty="0"/>
              <a:t>PQC Approaches</a:t>
            </a:r>
          </a:p>
        </p:txBody>
      </p:sp>
      <p:sp>
        <p:nvSpPr>
          <p:cNvPr id="5" name="Footer Placeholder 4">
            <a:extLst>
              <a:ext uri="{FF2B5EF4-FFF2-40B4-BE49-F238E27FC236}">
                <a16:creationId xmlns:a16="http://schemas.microsoft.com/office/drawing/2014/main" id="{A6CF3F66-D309-DB2B-D672-BA086DD397A0}"/>
              </a:ext>
            </a:extLst>
          </p:cNvPr>
          <p:cNvSpPr>
            <a:spLocks noGrp="1"/>
          </p:cNvSpPr>
          <p:nvPr>
            <p:ph type="ftr" sz="quarter" idx="10"/>
          </p:nvPr>
        </p:nvSpPr>
        <p:spPr/>
        <p:txBody>
          <a:bodyPr/>
          <a:lstStyle/>
          <a:p>
            <a:r>
              <a:rPr lang="en-US" dirty="0"/>
              <a:t>IAV  05/2025  IAVJ  DKO  Status: draft, confidential</a:t>
            </a:r>
          </a:p>
        </p:txBody>
      </p:sp>
      <p:sp>
        <p:nvSpPr>
          <p:cNvPr id="6" name="Slide Number Placeholder 5">
            <a:extLst>
              <a:ext uri="{FF2B5EF4-FFF2-40B4-BE49-F238E27FC236}">
                <a16:creationId xmlns:a16="http://schemas.microsoft.com/office/drawing/2014/main" id="{EC0979CF-6A11-A519-9A23-99F1363CA784}"/>
              </a:ext>
            </a:extLst>
          </p:cNvPr>
          <p:cNvSpPr>
            <a:spLocks noGrp="1"/>
          </p:cNvSpPr>
          <p:nvPr>
            <p:ph type="sldNum" sz="quarter" idx="11"/>
          </p:nvPr>
        </p:nvSpPr>
        <p:spPr/>
        <p:txBody>
          <a:bodyPr/>
          <a:lstStyle/>
          <a:p>
            <a:fld id="{C651C7C4-31E4-E340-822E-DEA0EA75A835}" type="slidenum">
              <a:rPr lang="en-US" smtClean="0"/>
              <a:pPr/>
              <a:t>13</a:t>
            </a:fld>
            <a:endParaRPr lang="en-US" dirty="0"/>
          </a:p>
        </p:txBody>
      </p:sp>
      <p:sp>
        <p:nvSpPr>
          <p:cNvPr id="7" name="Rectangle: Rounded Corners 6">
            <a:extLst>
              <a:ext uri="{FF2B5EF4-FFF2-40B4-BE49-F238E27FC236}">
                <a16:creationId xmlns:a16="http://schemas.microsoft.com/office/drawing/2014/main" id="{92590D64-3168-97F5-E661-E8A7F6CE1794}"/>
              </a:ext>
            </a:extLst>
          </p:cNvPr>
          <p:cNvSpPr/>
          <p:nvPr/>
        </p:nvSpPr>
        <p:spPr>
          <a:xfrm>
            <a:off x="1007716" y="5316168"/>
            <a:ext cx="9397044" cy="52908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en-US" sz="2000" dirty="0"/>
              <a:t>Post Quantum Computing Crypto solutions are needed to address the risks</a:t>
            </a:r>
          </a:p>
        </p:txBody>
      </p:sp>
      <p:sp>
        <p:nvSpPr>
          <p:cNvPr id="8" name="TextBox 7">
            <a:extLst>
              <a:ext uri="{FF2B5EF4-FFF2-40B4-BE49-F238E27FC236}">
                <a16:creationId xmlns:a16="http://schemas.microsoft.com/office/drawing/2014/main" id="{290F550F-ACF8-8DED-6DC3-278505F7FA2F}"/>
              </a:ext>
            </a:extLst>
          </p:cNvPr>
          <p:cNvSpPr txBox="1"/>
          <p:nvPr/>
        </p:nvSpPr>
        <p:spPr>
          <a:xfrm>
            <a:off x="8526608" y="-1"/>
            <a:ext cx="3138292" cy="707886"/>
          </a:xfrm>
          <a:prstGeom prst="rect">
            <a:avLst/>
          </a:prstGeom>
          <a:noFill/>
        </p:spPr>
        <p:txBody>
          <a:bodyPr wrap="square" rtlCol="0">
            <a:spAutoFit/>
          </a:bodyPr>
          <a:lstStyle/>
          <a:p>
            <a:pPr algn="l"/>
            <a:r>
              <a:rPr lang="en-US" sz="1000" dirty="0"/>
              <a:t>ECDH: Elliptic Curve Diffie Hellman</a:t>
            </a:r>
          </a:p>
          <a:p>
            <a:pPr algn="l"/>
            <a:r>
              <a:rPr lang="en-US" sz="1000" dirty="0"/>
              <a:t>AES: Advanced Encryption Standard</a:t>
            </a:r>
          </a:p>
          <a:p>
            <a:r>
              <a:rPr lang="en-US" sz="1000" dirty="0"/>
              <a:t>SHA: Secure Hash Algorithm</a:t>
            </a:r>
          </a:p>
          <a:p>
            <a:pPr algn="l"/>
            <a:r>
              <a:rPr lang="en-US" sz="1000" dirty="0"/>
              <a:t>HMAC: Hash-based Message Authentication Code</a:t>
            </a:r>
          </a:p>
        </p:txBody>
      </p:sp>
      <p:sp>
        <p:nvSpPr>
          <p:cNvPr id="9" name="TextBox 8">
            <a:extLst>
              <a:ext uri="{FF2B5EF4-FFF2-40B4-BE49-F238E27FC236}">
                <a16:creationId xmlns:a16="http://schemas.microsoft.com/office/drawing/2014/main" id="{5B2D3BCE-D141-B1E5-E293-917A3228CEFF}"/>
              </a:ext>
            </a:extLst>
          </p:cNvPr>
          <p:cNvSpPr txBox="1"/>
          <p:nvPr/>
        </p:nvSpPr>
        <p:spPr>
          <a:xfrm>
            <a:off x="5588152" y="-1"/>
            <a:ext cx="3138292" cy="707886"/>
          </a:xfrm>
          <a:prstGeom prst="rect">
            <a:avLst/>
          </a:prstGeom>
          <a:noFill/>
        </p:spPr>
        <p:txBody>
          <a:bodyPr wrap="square" rtlCol="0">
            <a:spAutoFit/>
          </a:bodyPr>
          <a:lstStyle/>
          <a:p>
            <a:r>
              <a:rPr lang="en-US" sz="1000" dirty="0"/>
              <a:t>PQC: Post-Quantum Cryptography</a:t>
            </a:r>
          </a:p>
          <a:p>
            <a:r>
              <a:rPr lang="en-US" sz="1000" dirty="0"/>
              <a:t>RSA: Rivest Shamir Adleman</a:t>
            </a:r>
          </a:p>
          <a:p>
            <a:pPr algn="l"/>
            <a:r>
              <a:rPr lang="en-US" sz="1000" dirty="0"/>
              <a:t>ECC: Elliptic Curve Cryptography</a:t>
            </a:r>
          </a:p>
          <a:p>
            <a:pPr algn="l"/>
            <a:r>
              <a:rPr lang="en-US" sz="1000" dirty="0"/>
              <a:t>ECDSA: Elliptic Curve Digital Signing Algorithm</a:t>
            </a:r>
          </a:p>
        </p:txBody>
      </p:sp>
      <p:graphicFrame>
        <p:nvGraphicFramePr>
          <p:cNvPr id="11" name="Table 10">
            <a:extLst>
              <a:ext uri="{FF2B5EF4-FFF2-40B4-BE49-F238E27FC236}">
                <a16:creationId xmlns:a16="http://schemas.microsoft.com/office/drawing/2014/main" id="{E03A30CD-A273-8E4A-E91F-DA0AE95D1CAC}"/>
              </a:ext>
            </a:extLst>
          </p:cNvPr>
          <p:cNvGraphicFramePr>
            <a:graphicFrameLocks noGrp="1"/>
          </p:cNvGraphicFramePr>
          <p:nvPr>
            <p:extLst>
              <p:ext uri="{D42A27DB-BD31-4B8C-83A1-F6EECF244321}">
                <p14:modId xmlns:p14="http://schemas.microsoft.com/office/powerpoint/2010/main" val="3886981982"/>
              </p:ext>
            </p:extLst>
          </p:nvPr>
        </p:nvGraphicFramePr>
        <p:xfrm>
          <a:off x="539664" y="951255"/>
          <a:ext cx="10440988" cy="3922776"/>
        </p:xfrm>
        <a:graphic>
          <a:graphicData uri="http://schemas.openxmlformats.org/drawingml/2006/table">
            <a:tbl>
              <a:tblPr firstRow="1" bandRow="1">
                <a:tableStyleId>{5C22544A-7EE6-4342-B048-85BDC9FD1C3A}</a:tableStyleId>
              </a:tblPr>
              <a:tblGrid>
                <a:gridCol w="2484276">
                  <a:extLst>
                    <a:ext uri="{9D8B030D-6E8A-4147-A177-3AD203B41FA5}">
                      <a16:colId xmlns:a16="http://schemas.microsoft.com/office/drawing/2014/main" val="2078311336"/>
                    </a:ext>
                  </a:extLst>
                </a:gridCol>
                <a:gridCol w="4464496">
                  <a:extLst>
                    <a:ext uri="{9D8B030D-6E8A-4147-A177-3AD203B41FA5}">
                      <a16:colId xmlns:a16="http://schemas.microsoft.com/office/drawing/2014/main" val="414374889"/>
                    </a:ext>
                  </a:extLst>
                </a:gridCol>
                <a:gridCol w="3492216">
                  <a:extLst>
                    <a:ext uri="{9D8B030D-6E8A-4147-A177-3AD203B41FA5}">
                      <a16:colId xmlns:a16="http://schemas.microsoft.com/office/drawing/2014/main" val="2160319848"/>
                    </a:ext>
                  </a:extLst>
                </a:gridCol>
              </a:tblGrid>
              <a:tr h="370840">
                <a:tc>
                  <a:txBody>
                    <a:bodyPr/>
                    <a:lstStyle/>
                    <a:p>
                      <a:r>
                        <a:rPr lang="en-US" dirty="0"/>
                        <a:t>Traditional Algorithm</a:t>
                      </a:r>
                    </a:p>
                  </a:txBody>
                  <a:tcPr/>
                </a:tc>
                <a:tc>
                  <a:txBody>
                    <a:bodyPr/>
                    <a:lstStyle/>
                    <a:p>
                      <a:r>
                        <a:rPr lang="en-US" dirty="0"/>
                        <a:t>Quantum Vulnerability</a:t>
                      </a:r>
                    </a:p>
                  </a:txBody>
                  <a:tcPr/>
                </a:tc>
                <a:tc>
                  <a:txBody>
                    <a:bodyPr/>
                    <a:lstStyle/>
                    <a:p>
                      <a:r>
                        <a:rPr lang="en-US" dirty="0"/>
                        <a:t>PQC Approach</a:t>
                      </a:r>
                    </a:p>
                  </a:txBody>
                  <a:tcPr/>
                </a:tc>
                <a:extLst>
                  <a:ext uri="{0D108BD9-81ED-4DB2-BD59-A6C34878D82A}">
                    <a16:rowId xmlns:a16="http://schemas.microsoft.com/office/drawing/2014/main" val="2823402885"/>
                  </a:ext>
                </a:extLst>
              </a:tr>
              <a:tr h="370840">
                <a:tc>
                  <a:txBody>
                    <a:bodyPr/>
                    <a:lstStyle/>
                    <a:p>
                      <a:r>
                        <a:rPr lang="en-US" dirty="0"/>
                        <a:t>RSA</a:t>
                      </a:r>
                    </a:p>
                  </a:txBody>
                  <a:tcPr/>
                </a:tc>
                <a:tc>
                  <a:txBody>
                    <a:bodyPr/>
                    <a:lstStyle/>
                    <a:p>
                      <a:r>
                        <a:rPr lang="en-US" dirty="0"/>
                        <a:t>Broken by Shor’s algorithm</a:t>
                      </a:r>
                    </a:p>
                  </a:txBody>
                  <a:tcPr/>
                </a:tc>
                <a:tc>
                  <a:txBody>
                    <a:bodyPr/>
                    <a:lstStyle/>
                    <a:p>
                      <a:r>
                        <a:rPr lang="en-US" dirty="0"/>
                        <a:t>CRYSTALS-Kyber (key exchange)</a:t>
                      </a:r>
                    </a:p>
                  </a:txBody>
                  <a:tcPr/>
                </a:tc>
                <a:extLst>
                  <a:ext uri="{0D108BD9-81ED-4DB2-BD59-A6C34878D82A}">
                    <a16:rowId xmlns:a16="http://schemas.microsoft.com/office/drawing/2014/main" val="3014373652"/>
                  </a:ext>
                </a:extLst>
              </a:tr>
              <a:tr h="370840">
                <a:tc>
                  <a:txBody>
                    <a:bodyPr/>
                    <a:lstStyle/>
                    <a:p>
                      <a:r>
                        <a:rPr lang="en-US" dirty="0"/>
                        <a:t>ECC</a:t>
                      </a:r>
                    </a:p>
                  </a:txBody>
                  <a:tcPr/>
                </a:tc>
                <a:tc>
                  <a: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US" dirty="0"/>
                        <a:t>Broken by Shor’s algorithm</a:t>
                      </a:r>
                    </a:p>
                  </a:txBody>
                  <a:tcPr/>
                </a:tc>
                <a:tc>
                  <a:txBody>
                    <a:bodyPr/>
                    <a:lstStyle/>
                    <a:p>
                      <a:r>
                        <a:rPr lang="en-US" dirty="0"/>
                        <a:t>CRYSTALS-</a:t>
                      </a:r>
                      <a:r>
                        <a:rPr lang="en-US" dirty="0" err="1"/>
                        <a:t>Dilithium</a:t>
                      </a:r>
                      <a:r>
                        <a:rPr lang="en-US" dirty="0"/>
                        <a:t> (signatures)</a:t>
                      </a:r>
                    </a:p>
                  </a:txBody>
                  <a:tcPr/>
                </a:tc>
                <a:extLst>
                  <a:ext uri="{0D108BD9-81ED-4DB2-BD59-A6C34878D82A}">
                    <a16:rowId xmlns:a16="http://schemas.microsoft.com/office/drawing/2014/main" val="1410524623"/>
                  </a:ext>
                </a:extLst>
              </a:tr>
              <a:tr h="370840">
                <a:tc>
                  <a:txBody>
                    <a:bodyPr/>
                    <a:lstStyle/>
                    <a:p>
                      <a:r>
                        <a:rPr lang="en-US" dirty="0"/>
                        <a:t>AES-128</a:t>
                      </a:r>
                    </a:p>
                  </a:txBody>
                  <a:tcPr/>
                </a:tc>
                <a:tc>
                  <a: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US" dirty="0"/>
                        <a:t>Grover’s algorithm halves security (64 bits)</a:t>
                      </a:r>
                    </a:p>
                  </a:txBody>
                  <a:tcPr/>
                </a:tc>
                <a:tc>
                  <a:txBody>
                    <a:bodyPr/>
                    <a:lstStyle/>
                    <a:p>
                      <a:r>
                        <a:rPr lang="en-US" dirty="0"/>
                        <a:t>Use AES-256</a:t>
                      </a:r>
                    </a:p>
                  </a:txBody>
                  <a:tcPr/>
                </a:tc>
                <a:extLst>
                  <a:ext uri="{0D108BD9-81ED-4DB2-BD59-A6C34878D82A}">
                    <a16:rowId xmlns:a16="http://schemas.microsoft.com/office/drawing/2014/main" val="243286240"/>
                  </a:ext>
                </a:extLst>
              </a:tr>
              <a:tr h="370840">
                <a:tc>
                  <a:txBody>
                    <a:bodyPr/>
                    <a:lstStyle/>
                    <a:p>
                      <a:r>
                        <a:rPr lang="en-US" dirty="0"/>
                        <a:t>SHA-2 (SHA-256)</a:t>
                      </a:r>
                    </a:p>
                  </a:txBody>
                  <a:tcPr/>
                </a:tc>
                <a:tc>
                  <a: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US" dirty="0"/>
                        <a:t>Grover’s algorithm halves preimage resistance (128 bits)</a:t>
                      </a:r>
                    </a:p>
                  </a:txBody>
                  <a:tcPr/>
                </a:tc>
                <a:tc>
                  <a:txBody>
                    <a:bodyPr/>
                    <a:lstStyle/>
                    <a:p>
                      <a:r>
                        <a:rPr lang="en-US" dirty="0"/>
                        <a:t>Continue with SHA-2 or use SHA-512 for extra margin</a:t>
                      </a:r>
                    </a:p>
                  </a:txBody>
                  <a:tcPr/>
                </a:tc>
                <a:extLst>
                  <a:ext uri="{0D108BD9-81ED-4DB2-BD59-A6C34878D82A}">
                    <a16:rowId xmlns:a16="http://schemas.microsoft.com/office/drawing/2014/main" val="2172892397"/>
                  </a:ext>
                </a:extLst>
              </a:tr>
              <a:tr h="370840">
                <a:tc>
                  <a:txBody>
                    <a:bodyPr/>
                    <a:lstStyle/>
                    <a:p>
                      <a:r>
                        <a:rPr lang="en-US" dirty="0"/>
                        <a:t>SHA-3-256</a:t>
                      </a:r>
                    </a:p>
                  </a:txBody>
                  <a:tcPr/>
                </a:tc>
                <a:tc>
                  <a: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US" dirty="0"/>
                        <a:t>Grover’s algorithm halves preimage resistance (128 bits)</a:t>
                      </a:r>
                    </a:p>
                  </a:txBody>
                  <a:tcPr/>
                </a:tc>
                <a:tc>
                  <a:txBody>
                    <a:bodyPr/>
                    <a:lstStyle/>
                    <a:p>
                      <a:r>
                        <a:rPr lang="en-US" dirty="0"/>
                        <a:t>Continue with SHA-3-256 or use SHA-3-512 for extra margin</a:t>
                      </a:r>
                    </a:p>
                  </a:txBody>
                  <a:tcPr/>
                </a:tc>
                <a:extLst>
                  <a:ext uri="{0D108BD9-81ED-4DB2-BD59-A6C34878D82A}">
                    <a16:rowId xmlns:a16="http://schemas.microsoft.com/office/drawing/2014/main" val="3845415110"/>
                  </a:ext>
                </a:extLst>
              </a:tr>
              <a:tr h="370840">
                <a:tc>
                  <a:txBody>
                    <a:bodyPr/>
                    <a:lstStyle/>
                    <a:p>
                      <a:r>
                        <a:rPr lang="en-US" dirty="0"/>
                        <a:t>HMAC</a:t>
                      </a:r>
                    </a:p>
                  </a:txBody>
                  <a:tcPr/>
                </a:tc>
                <a:tc>
                  <a: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US" dirty="0"/>
                        <a:t>Depends on underlying hash (SHA-2 or SHA-3)</a:t>
                      </a:r>
                    </a:p>
                  </a:txBody>
                  <a:tcPr/>
                </a:tc>
                <a:tc>
                  <a:txBody>
                    <a:bodyPr/>
                    <a:lstStyle/>
                    <a:p>
                      <a:r>
                        <a:rPr lang="en-US" dirty="0"/>
                        <a:t>See above for SHA-2 and SHA-3-256</a:t>
                      </a:r>
                    </a:p>
                  </a:txBody>
                  <a:tcPr/>
                </a:tc>
                <a:extLst>
                  <a:ext uri="{0D108BD9-81ED-4DB2-BD59-A6C34878D82A}">
                    <a16:rowId xmlns:a16="http://schemas.microsoft.com/office/drawing/2014/main" val="1931546923"/>
                  </a:ext>
                </a:extLst>
              </a:tr>
              <a:tr h="370840">
                <a:tc>
                  <a:txBody>
                    <a:bodyPr/>
                    <a:lstStyle/>
                    <a:p>
                      <a:r>
                        <a:rPr lang="en-US" dirty="0"/>
                        <a:t>ChaCha20 (256 bits)</a:t>
                      </a:r>
                    </a:p>
                  </a:txBody>
                  <a:tcPr/>
                </a:tc>
                <a:tc>
                  <a: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US" dirty="0"/>
                        <a:t>Grover’s algorithm halves security (128 bits)</a:t>
                      </a:r>
                    </a:p>
                  </a:txBody>
                  <a:tcPr/>
                </a:tc>
                <a:tc>
                  <a:txBody>
                    <a:bodyPr/>
                    <a:lstStyle/>
                    <a:p>
                      <a:r>
                        <a:rPr lang="en-US" dirty="0"/>
                        <a:t>Continue with ChaCha20 (256 bits)</a:t>
                      </a:r>
                    </a:p>
                  </a:txBody>
                  <a:tcPr/>
                </a:tc>
                <a:extLst>
                  <a:ext uri="{0D108BD9-81ED-4DB2-BD59-A6C34878D82A}">
                    <a16:rowId xmlns:a16="http://schemas.microsoft.com/office/drawing/2014/main" val="3330123277"/>
                  </a:ext>
                </a:extLst>
              </a:tr>
            </a:tbl>
          </a:graphicData>
        </a:graphic>
      </p:graphicFrame>
    </p:spTree>
    <p:extLst>
      <p:ext uri="{BB962C8B-B14F-4D97-AF65-F5344CB8AC3E}">
        <p14:creationId xmlns:p14="http://schemas.microsoft.com/office/powerpoint/2010/main" val="37127893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1CB62B-F9D2-6162-4DEB-670A35F0BB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7ED22F7-2408-AC5B-E340-599912FDD1BD}"/>
              </a:ext>
            </a:extLst>
          </p:cNvPr>
          <p:cNvSpPr>
            <a:spLocks noGrp="1"/>
          </p:cNvSpPr>
          <p:nvPr>
            <p:ph type="title"/>
          </p:nvPr>
        </p:nvSpPr>
        <p:spPr/>
        <p:txBody>
          <a:bodyPr/>
          <a:lstStyle/>
          <a:p>
            <a:r>
              <a:rPr lang="en-US" dirty="0"/>
              <a:t>Agenda</a:t>
            </a:r>
          </a:p>
        </p:txBody>
      </p:sp>
      <p:sp>
        <p:nvSpPr>
          <p:cNvPr id="4" name="Slide Number Placeholder 3">
            <a:extLst>
              <a:ext uri="{FF2B5EF4-FFF2-40B4-BE49-F238E27FC236}">
                <a16:creationId xmlns:a16="http://schemas.microsoft.com/office/drawing/2014/main" id="{252BFFCE-74BE-C97A-19A6-BE32F1A212D2}"/>
              </a:ext>
            </a:extLst>
          </p:cNvPr>
          <p:cNvSpPr>
            <a:spLocks noGrp="1"/>
          </p:cNvSpPr>
          <p:nvPr>
            <p:ph type="sldNum" sz="quarter" idx="11"/>
          </p:nvPr>
        </p:nvSpPr>
        <p:spPr/>
        <p:txBody>
          <a:bodyPr/>
          <a:lstStyle/>
          <a:p>
            <a:fld id="{DD6C52D8-AF7F-4297-9A35-2617B7FF1801}" type="slidenum">
              <a:rPr lang="en-US" smtClean="0"/>
              <a:pPr/>
              <a:t>14</a:t>
            </a:fld>
            <a:endParaRPr lang="en-US" dirty="0"/>
          </a:p>
        </p:txBody>
      </p:sp>
      <p:graphicFrame>
        <p:nvGraphicFramePr>
          <p:cNvPr id="5" name="Diagram 4">
            <a:extLst>
              <a:ext uri="{FF2B5EF4-FFF2-40B4-BE49-F238E27FC236}">
                <a16:creationId xmlns:a16="http://schemas.microsoft.com/office/drawing/2014/main" id="{3E122910-030B-3C5F-8A4F-3E7A1FB1468A}"/>
              </a:ext>
            </a:extLst>
          </p:cNvPr>
          <p:cNvGraphicFramePr/>
          <p:nvPr>
            <p:extLst>
              <p:ext uri="{D42A27DB-BD31-4B8C-83A1-F6EECF244321}">
                <p14:modId xmlns:p14="http://schemas.microsoft.com/office/powerpoint/2010/main" val="1125912018"/>
              </p:ext>
            </p:extLst>
          </p:nvPr>
        </p:nvGraphicFramePr>
        <p:xfrm>
          <a:off x="1920081" y="679979"/>
          <a:ext cx="7680325" cy="51202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Footer Placeholder 2">
            <a:extLst>
              <a:ext uri="{FF2B5EF4-FFF2-40B4-BE49-F238E27FC236}">
                <a16:creationId xmlns:a16="http://schemas.microsoft.com/office/drawing/2014/main" id="{EB1EE963-894C-EB30-EC98-5FEC9B6EFFFF}"/>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spTree>
    <p:extLst>
      <p:ext uri="{BB962C8B-B14F-4D97-AF65-F5344CB8AC3E}">
        <p14:creationId xmlns:p14="http://schemas.microsoft.com/office/powerpoint/2010/main" val="17138479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EE6CA0-49F6-399C-34CA-F249457B3B3E}"/>
              </a:ext>
            </a:extLst>
          </p:cNvPr>
          <p:cNvSpPr>
            <a:spLocks noGrp="1"/>
          </p:cNvSpPr>
          <p:nvPr>
            <p:ph type="title"/>
          </p:nvPr>
        </p:nvSpPr>
        <p:spPr/>
        <p:txBody>
          <a:bodyPr/>
          <a:lstStyle/>
          <a:p>
            <a:r>
              <a:rPr lang="en-US" dirty="0"/>
              <a:t>Examples of Past Attacks</a:t>
            </a:r>
          </a:p>
        </p:txBody>
      </p:sp>
      <p:sp>
        <p:nvSpPr>
          <p:cNvPr id="4" name="Slide Number Placeholder 3">
            <a:extLst>
              <a:ext uri="{FF2B5EF4-FFF2-40B4-BE49-F238E27FC236}">
                <a16:creationId xmlns:a16="http://schemas.microsoft.com/office/drawing/2014/main" id="{BF0C5481-D08B-8A0E-50A1-B00E6B299C2C}"/>
              </a:ext>
            </a:extLst>
          </p:cNvPr>
          <p:cNvSpPr>
            <a:spLocks noGrp="1"/>
          </p:cNvSpPr>
          <p:nvPr>
            <p:ph type="sldNum" sz="quarter" idx="11"/>
          </p:nvPr>
        </p:nvSpPr>
        <p:spPr/>
        <p:txBody>
          <a:bodyPr/>
          <a:lstStyle/>
          <a:p>
            <a:fld id="{DD6C52D8-AF7F-4297-9A35-2617B7FF1801}" type="slidenum">
              <a:rPr lang="en-US" smtClean="0"/>
              <a:pPr/>
              <a:t>15</a:t>
            </a:fld>
            <a:endParaRPr lang="en-US" dirty="0"/>
          </a:p>
        </p:txBody>
      </p:sp>
      <p:sp>
        <p:nvSpPr>
          <p:cNvPr id="5" name="Content Placeholder 3">
            <a:extLst>
              <a:ext uri="{FF2B5EF4-FFF2-40B4-BE49-F238E27FC236}">
                <a16:creationId xmlns:a16="http://schemas.microsoft.com/office/drawing/2014/main" id="{47DCE60A-9C7F-F449-4990-C6ADB2C7CDD7}"/>
              </a:ext>
            </a:extLst>
          </p:cNvPr>
          <p:cNvSpPr txBox="1">
            <a:spLocks/>
          </p:cNvSpPr>
          <p:nvPr/>
        </p:nvSpPr>
        <p:spPr>
          <a:xfrm>
            <a:off x="431408" y="1468840"/>
            <a:ext cx="3276605" cy="4060911"/>
          </a:xfrm>
          <a:prstGeom prst="rect">
            <a:avLst/>
          </a:prstGeom>
        </p:spPr>
        <p:txBody>
          <a:bodyPr/>
          <a:lstStyle>
            <a:lvl1pPr marL="18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1pPr>
            <a:lvl2pPr marL="360000" indent="-180000" algn="l" defTabSz="863995" rtl="0" eaLnBrk="1" latinLnBrk="0" hangingPunct="1">
              <a:lnSpc>
                <a:spcPct val="120000"/>
              </a:lnSpc>
              <a:spcBef>
                <a:spcPts val="800"/>
              </a:spcBef>
              <a:spcAft>
                <a:spcPts val="0"/>
              </a:spcAft>
              <a:buClr>
                <a:schemeClr val="tx1"/>
              </a:buClr>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2pPr>
            <a:lvl3pPr marL="540000" indent="-179388" algn="l" defTabSz="863995" rtl="0" eaLnBrk="1" latinLnBrk="0" hangingPunct="1">
              <a:lnSpc>
                <a:spcPct val="120000"/>
              </a:lnSpc>
              <a:spcBef>
                <a:spcPts val="800"/>
              </a:spcBef>
              <a:spcAft>
                <a:spcPts val="0"/>
              </a:spcAft>
              <a:buClr>
                <a:schemeClr val="tx1"/>
              </a:buClr>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3pPr>
            <a:lvl4pPr marL="720000" indent="-180000" algn="l" defTabSz="863995" rtl="0" eaLnBrk="1" latinLnBrk="0" hangingPunct="1">
              <a:lnSpc>
                <a:spcPct val="120000"/>
              </a:lnSpc>
              <a:spcBef>
                <a:spcPts val="800"/>
              </a:spcBef>
              <a:spcAft>
                <a:spcPts val="0"/>
              </a:spcAft>
              <a:buClr>
                <a:schemeClr val="tx1"/>
              </a:buClr>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4pPr>
            <a:lvl5pPr marL="900000" indent="-180000" algn="l" defTabSz="863995" rtl="0" eaLnBrk="1" latinLnBrk="0" hangingPunct="1">
              <a:lnSpc>
                <a:spcPct val="120000"/>
              </a:lnSpc>
              <a:spcBef>
                <a:spcPts val="800"/>
              </a:spcBef>
              <a:spcAft>
                <a:spcPts val="0"/>
              </a:spcAft>
              <a:buClr>
                <a:schemeClr val="tx1"/>
              </a:buClr>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r>
              <a:rPr lang="en-US" b="1" dirty="0"/>
              <a:t>Entry point</a:t>
            </a:r>
            <a:r>
              <a:rPr lang="en-US" dirty="0"/>
              <a:t>: </a:t>
            </a:r>
            <a:r>
              <a:rPr lang="en-US" dirty="0">
                <a:solidFill>
                  <a:schemeClr val="accent4"/>
                </a:solidFill>
              </a:rPr>
              <a:t>Vehicle - key fob</a:t>
            </a:r>
          </a:p>
          <a:p>
            <a:r>
              <a:rPr lang="en-US" b="1" dirty="0"/>
              <a:t>Vulnerability</a:t>
            </a:r>
            <a:r>
              <a:rPr lang="en-US" dirty="0"/>
              <a:t>: in the keyless entry system/immobilizer (weak cryptographic authentication)</a:t>
            </a:r>
          </a:p>
          <a:p>
            <a:r>
              <a:rPr lang="en-US" altLang="ja-JP" dirty="0">
                <a:solidFill>
                  <a:schemeClr val="accent4"/>
                </a:solidFill>
              </a:rPr>
              <a:t>Attack device</a:t>
            </a:r>
            <a:r>
              <a:rPr lang="en-US" altLang="ja-JP" dirty="0">
                <a:solidFill>
                  <a:srgbClr val="7030A0"/>
                </a:solidFill>
              </a:rPr>
              <a:t> </a:t>
            </a:r>
            <a:r>
              <a:rPr lang="en-US" altLang="ja-JP" dirty="0"/>
              <a:t>uses specific algorithm and calculates the correct key </a:t>
            </a:r>
            <a:r>
              <a:rPr lang="ja-JP" altLang="en-US" dirty="0"/>
              <a:t>⇒</a:t>
            </a:r>
            <a:r>
              <a:rPr lang="en-US" altLang="ja-JP" dirty="0"/>
              <a:t> sends to vehicle</a:t>
            </a:r>
          </a:p>
          <a:p>
            <a:r>
              <a:rPr lang="en-US" altLang="ja-JP" b="1" dirty="0"/>
              <a:t>Impact</a:t>
            </a:r>
            <a:r>
              <a:rPr lang="en-US" altLang="ja-JP" dirty="0"/>
              <a:t>: use attack device as </a:t>
            </a:r>
            <a:r>
              <a:rPr lang="en-US" altLang="ja-JP" dirty="0">
                <a:solidFill>
                  <a:schemeClr val="accent4"/>
                </a:solidFill>
              </a:rPr>
              <a:t>key</a:t>
            </a:r>
            <a:r>
              <a:rPr lang="en-US" altLang="ja-JP" dirty="0"/>
              <a:t> and </a:t>
            </a:r>
            <a:r>
              <a:rPr lang="en-US" altLang="ja-JP" dirty="0">
                <a:solidFill>
                  <a:schemeClr val="accent4"/>
                </a:solidFill>
              </a:rPr>
              <a:t>drive</a:t>
            </a:r>
            <a:r>
              <a:rPr lang="en-US" altLang="ja-JP" dirty="0"/>
              <a:t> off with target vehicle</a:t>
            </a:r>
          </a:p>
          <a:p>
            <a:endParaRPr lang="en-US" dirty="0"/>
          </a:p>
        </p:txBody>
      </p:sp>
      <p:sp>
        <p:nvSpPr>
          <p:cNvPr id="6" name="Content Placeholder 5">
            <a:extLst>
              <a:ext uri="{FF2B5EF4-FFF2-40B4-BE49-F238E27FC236}">
                <a16:creationId xmlns:a16="http://schemas.microsoft.com/office/drawing/2014/main" id="{844C9092-F90C-929A-94DD-0FA16669C609}"/>
              </a:ext>
            </a:extLst>
          </p:cNvPr>
          <p:cNvSpPr txBox="1">
            <a:spLocks/>
          </p:cNvSpPr>
          <p:nvPr/>
        </p:nvSpPr>
        <p:spPr>
          <a:xfrm>
            <a:off x="3949363" y="1468840"/>
            <a:ext cx="3621154" cy="4060911"/>
          </a:xfrm>
          <a:prstGeom prst="rect">
            <a:avLst/>
          </a:prstGeom>
        </p:spPr>
        <p:txBody>
          <a:bodyPr/>
          <a:lstStyle>
            <a:lvl1pPr marL="18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1pPr>
            <a:lvl2pPr marL="360000" indent="-180000" algn="l" defTabSz="863995" rtl="0" eaLnBrk="1" latinLnBrk="0" hangingPunct="1">
              <a:lnSpc>
                <a:spcPct val="120000"/>
              </a:lnSpc>
              <a:spcBef>
                <a:spcPts val="800"/>
              </a:spcBef>
              <a:spcAft>
                <a:spcPts val="0"/>
              </a:spcAft>
              <a:buClr>
                <a:schemeClr val="tx1"/>
              </a:buClr>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2pPr>
            <a:lvl3pPr marL="540000" indent="-179388" algn="l" defTabSz="863995" rtl="0" eaLnBrk="1" latinLnBrk="0" hangingPunct="1">
              <a:lnSpc>
                <a:spcPct val="120000"/>
              </a:lnSpc>
              <a:spcBef>
                <a:spcPts val="800"/>
              </a:spcBef>
              <a:spcAft>
                <a:spcPts val="0"/>
              </a:spcAft>
              <a:buClr>
                <a:schemeClr val="tx1"/>
              </a:buClr>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3pPr>
            <a:lvl4pPr marL="720000" indent="-180000" algn="l" defTabSz="863995" rtl="0" eaLnBrk="1" latinLnBrk="0" hangingPunct="1">
              <a:lnSpc>
                <a:spcPct val="120000"/>
              </a:lnSpc>
              <a:spcBef>
                <a:spcPts val="800"/>
              </a:spcBef>
              <a:spcAft>
                <a:spcPts val="0"/>
              </a:spcAft>
              <a:buClr>
                <a:schemeClr val="tx1"/>
              </a:buClr>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4pPr>
            <a:lvl5pPr marL="900000" indent="-180000" algn="l" defTabSz="863995" rtl="0" eaLnBrk="1" latinLnBrk="0" hangingPunct="1">
              <a:lnSpc>
                <a:spcPct val="120000"/>
              </a:lnSpc>
              <a:spcBef>
                <a:spcPts val="800"/>
              </a:spcBef>
              <a:spcAft>
                <a:spcPts val="0"/>
              </a:spcAft>
              <a:buClr>
                <a:schemeClr val="tx1"/>
              </a:buClr>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r>
              <a:rPr lang="en-US" b="1" dirty="0"/>
              <a:t>Entry point</a:t>
            </a:r>
            <a:r>
              <a:rPr lang="en-US" dirty="0"/>
              <a:t>: </a:t>
            </a:r>
            <a:r>
              <a:rPr lang="en-US" dirty="0">
                <a:solidFill>
                  <a:schemeClr val="accent4"/>
                </a:solidFill>
              </a:rPr>
              <a:t>Physical access </a:t>
            </a:r>
            <a:r>
              <a:rPr lang="en-US" dirty="0">
                <a:solidFill>
                  <a:srgbClr val="001A54"/>
                </a:solidFill>
              </a:rPr>
              <a:t>to the EV charging station interface</a:t>
            </a:r>
          </a:p>
          <a:p>
            <a:r>
              <a:rPr lang="en-US" b="1" dirty="0"/>
              <a:t>Vulnerability</a:t>
            </a:r>
            <a:r>
              <a:rPr lang="en-US" dirty="0"/>
              <a:t>:</a:t>
            </a:r>
            <a:r>
              <a:rPr lang="en-US" b="1" dirty="0"/>
              <a:t> </a:t>
            </a:r>
            <a:r>
              <a:rPr lang="en-US" dirty="0"/>
              <a:t>in </a:t>
            </a:r>
            <a:r>
              <a:rPr lang="en-US" dirty="0">
                <a:solidFill>
                  <a:schemeClr val="accent4"/>
                </a:solidFill>
              </a:rPr>
              <a:t>firmware</a:t>
            </a:r>
            <a:r>
              <a:rPr lang="en-US" dirty="0"/>
              <a:t> (not checking lower bounds) and </a:t>
            </a:r>
            <a:r>
              <a:rPr lang="en-US" dirty="0">
                <a:solidFill>
                  <a:schemeClr val="accent4"/>
                </a:solidFill>
              </a:rPr>
              <a:t>proprietary</a:t>
            </a:r>
            <a:r>
              <a:rPr lang="en-US" dirty="0"/>
              <a:t> communication protocol (allows malformed frames)</a:t>
            </a:r>
          </a:p>
          <a:p>
            <a:r>
              <a:rPr lang="en-US" altLang="ja-JP" dirty="0"/>
              <a:t>Send </a:t>
            </a:r>
            <a:r>
              <a:rPr lang="en-US" altLang="ja-JP" dirty="0">
                <a:solidFill>
                  <a:schemeClr val="accent4"/>
                </a:solidFill>
              </a:rPr>
              <a:t>custom malformed</a:t>
            </a:r>
            <a:r>
              <a:rPr lang="en-US" altLang="ja-JP" dirty="0"/>
              <a:t> payloads</a:t>
            </a:r>
          </a:p>
          <a:p>
            <a:r>
              <a:rPr lang="en-US" altLang="ja-JP" b="1" dirty="0"/>
              <a:t>Impact</a:t>
            </a:r>
            <a:r>
              <a:rPr lang="en-US" altLang="ja-JP" dirty="0"/>
              <a:t>: </a:t>
            </a:r>
            <a:r>
              <a:rPr lang="en-US" altLang="ja-JP" dirty="0">
                <a:solidFill>
                  <a:schemeClr val="accent4"/>
                </a:solidFill>
              </a:rPr>
              <a:t>DoS</a:t>
            </a:r>
            <a:r>
              <a:rPr lang="en-US" altLang="ja-JP" dirty="0"/>
              <a:t>, undefined behavior or </a:t>
            </a:r>
            <a:r>
              <a:rPr lang="en-US" altLang="ja-JP" dirty="0">
                <a:solidFill>
                  <a:schemeClr val="accent4"/>
                </a:solidFill>
              </a:rPr>
              <a:t>command injection</a:t>
            </a:r>
            <a:endParaRPr lang="en-US" dirty="0">
              <a:solidFill>
                <a:schemeClr val="accent4"/>
              </a:solidFill>
            </a:endParaRPr>
          </a:p>
        </p:txBody>
      </p:sp>
      <p:sp>
        <p:nvSpPr>
          <p:cNvPr id="7" name="Content Placeholder 6">
            <a:extLst>
              <a:ext uri="{FF2B5EF4-FFF2-40B4-BE49-F238E27FC236}">
                <a16:creationId xmlns:a16="http://schemas.microsoft.com/office/drawing/2014/main" id="{D3ACA376-CB6F-A5C6-F4BA-708B51D62D4D}"/>
              </a:ext>
            </a:extLst>
          </p:cNvPr>
          <p:cNvSpPr txBox="1">
            <a:spLocks/>
          </p:cNvSpPr>
          <p:nvPr/>
        </p:nvSpPr>
        <p:spPr>
          <a:xfrm>
            <a:off x="7919726" y="1468840"/>
            <a:ext cx="3277122" cy="4060911"/>
          </a:xfrm>
          <a:prstGeom prst="rect">
            <a:avLst/>
          </a:prstGeom>
        </p:spPr>
        <p:txBody>
          <a:bodyPr/>
          <a:lstStyle>
            <a:lvl1pPr marL="18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1pPr>
            <a:lvl2pPr marL="360000" indent="-180000" algn="l" defTabSz="863995" rtl="0" eaLnBrk="1" latinLnBrk="0" hangingPunct="1">
              <a:lnSpc>
                <a:spcPct val="120000"/>
              </a:lnSpc>
              <a:spcBef>
                <a:spcPts val="800"/>
              </a:spcBef>
              <a:spcAft>
                <a:spcPts val="0"/>
              </a:spcAft>
              <a:buClr>
                <a:schemeClr val="tx1"/>
              </a:buClr>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2pPr>
            <a:lvl3pPr marL="540000" indent="-179388" algn="l" defTabSz="863995" rtl="0" eaLnBrk="1" latinLnBrk="0" hangingPunct="1">
              <a:lnSpc>
                <a:spcPct val="120000"/>
              </a:lnSpc>
              <a:spcBef>
                <a:spcPts val="800"/>
              </a:spcBef>
              <a:spcAft>
                <a:spcPts val="0"/>
              </a:spcAft>
              <a:buClr>
                <a:schemeClr val="tx1"/>
              </a:buClr>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3pPr>
            <a:lvl4pPr marL="720000" indent="-180000" algn="l" defTabSz="863995" rtl="0" eaLnBrk="1" latinLnBrk="0" hangingPunct="1">
              <a:lnSpc>
                <a:spcPct val="120000"/>
              </a:lnSpc>
              <a:spcBef>
                <a:spcPts val="800"/>
              </a:spcBef>
              <a:spcAft>
                <a:spcPts val="0"/>
              </a:spcAft>
              <a:buClr>
                <a:schemeClr val="tx1"/>
              </a:buClr>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4pPr>
            <a:lvl5pPr marL="900000" indent="-180000" algn="l" defTabSz="863995" rtl="0" eaLnBrk="1" latinLnBrk="0" hangingPunct="1">
              <a:lnSpc>
                <a:spcPct val="120000"/>
              </a:lnSpc>
              <a:spcBef>
                <a:spcPts val="800"/>
              </a:spcBef>
              <a:spcAft>
                <a:spcPts val="0"/>
              </a:spcAft>
              <a:buClr>
                <a:schemeClr val="tx1"/>
              </a:buClr>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r>
              <a:rPr lang="en-US" dirty="0"/>
              <a:t>Entry point: </a:t>
            </a:r>
            <a:r>
              <a:rPr lang="en-US" dirty="0">
                <a:solidFill>
                  <a:schemeClr val="accent4"/>
                </a:solidFill>
              </a:rPr>
              <a:t>Bluetooth</a:t>
            </a:r>
            <a:r>
              <a:rPr lang="en-US" dirty="0"/>
              <a:t> interface on </a:t>
            </a:r>
            <a:r>
              <a:rPr lang="en-US" dirty="0">
                <a:solidFill>
                  <a:schemeClr val="accent4"/>
                </a:solidFill>
              </a:rPr>
              <a:t>IVI</a:t>
            </a:r>
          </a:p>
          <a:p>
            <a:r>
              <a:rPr lang="en-US" b="1" dirty="0"/>
              <a:t>Vulnerability</a:t>
            </a:r>
            <a:r>
              <a:rPr lang="en-US" dirty="0"/>
              <a:t>: in Bluetooth implementation</a:t>
            </a:r>
          </a:p>
          <a:p>
            <a:r>
              <a:rPr lang="en-US" altLang="ja-JP" dirty="0"/>
              <a:t>Exposed </a:t>
            </a:r>
            <a:r>
              <a:rPr lang="en-US" altLang="ja-JP" dirty="0">
                <a:solidFill>
                  <a:schemeClr val="accent4"/>
                </a:solidFill>
              </a:rPr>
              <a:t>unauthenticated </a:t>
            </a:r>
            <a:r>
              <a:rPr lang="en-US" altLang="ja-JP" dirty="0"/>
              <a:t>Bluetooth services, firmware allows </a:t>
            </a:r>
            <a:r>
              <a:rPr lang="en-US" altLang="ja-JP" dirty="0">
                <a:solidFill>
                  <a:schemeClr val="accent4"/>
                </a:solidFill>
              </a:rPr>
              <a:t>unsigned code execution</a:t>
            </a:r>
          </a:p>
          <a:p>
            <a:r>
              <a:rPr lang="en-US" altLang="ja-JP" dirty="0"/>
              <a:t>Inject </a:t>
            </a:r>
            <a:r>
              <a:rPr lang="en-US" altLang="ja-JP" dirty="0">
                <a:solidFill>
                  <a:schemeClr val="accent4"/>
                </a:solidFill>
              </a:rPr>
              <a:t>malware</a:t>
            </a:r>
            <a:r>
              <a:rPr lang="en-US" altLang="ja-JP" dirty="0"/>
              <a:t>, extract vehicle data</a:t>
            </a:r>
            <a:endParaRPr lang="en-US" altLang="ja-JP" dirty="0">
              <a:solidFill>
                <a:srgbClr val="7030A0"/>
              </a:solidFill>
            </a:endParaRPr>
          </a:p>
          <a:p>
            <a:r>
              <a:rPr lang="en-US" altLang="ja-JP" b="1" dirty="0"/>
              <a:t>Impact</a:t>
            </a:r>
            <a:r>
              <a:rPr lang="en-US" altLang="ja-JP" dirty="0"/>
              <a:t>: </a:t>
            </a:r>
            <a:r>
              <a:rPr lang="en-US" altLang="ja-JP" dirty="0">
                <a:solidFill>
                  <a:schemeClr val="accent4"/>
                </a:solidFill>
              </a:rPr>
              <a:t>extract</a:t>
            </a:r>
            <a:r>
              <a:rPr lang="en-US" altLang="ja-JP" dirty="0"/>
              <a:t> vehicle location data, contact and call history, record microphone audio etc. </a:t>
            </a:r>
          </a:p>
        </p:txBody>
      </p:sp>
      <p:grpSp>
        <p:nvGrpSpPr>
          <p:cNvPr id="8" name="easyIcon">
            <a:extLst>
              <a:ext uri="{FF2B5EF4-FFF2-40B4-BE49-F238E27FC236}">
                <a16:creationId xmlns:a16="http://schemas.microsoft.com/office/drawing/2014/main" id="{3A99298B-44BE-D207-4172-EF19E6DEBC30}"/>
              </a:ext>
            </a:extLst>
          </p:cNvPr>
          <p:cNvGrpSpPr>
            <a:grpSpLocks noChangeAspect="1"/>
          </p:cNvGrpSpPr>
          <p:nvPr>
            <p:custDataLst>
              <p:tags r:id="rId1"/>
            </p:custDataLst>
          </p:nvPr>
        </p:nvGrpSpPr>
        <p:grpSpPr>
          <a:xfrm>
            <a:off x="1022388" y="5104237"/>
            <a:ext cx="720000" cy="720000"/>
            <a:chOff x="4998244" y="2478087"/>
            <a:chExt cx="1524000" cy="1524000"/>
          </a:xfrm>
        </p:grpSpPr>
        <p:sp>
          <p:nvSpPr>
            <p:cNvPr id="9" name="backgroundFixed">
              <a:extLst>
                <a:ext uri="{FF2B5EF4-FFF2-40B4-BE49-F238E27FC236}">
                  <a16:creationId xmlns:a16="http://schemas.microsoft.com/office/drawing/2014/main" id="{82B6C9C4-42A1-51DE-86A9-D0AF3400038E}"/>
                </a:ext>
              </a:extLst>
            </p:cNvPr>
            <p:cNvSpPr/>
            <p:nvPr>
              <p:custDataLst>
                <p:tags r:id="rId10"/>
              </p:custDataLst>
            </p:nvPr>
          </p:nvSpPr>
          <p:spPr>
            <a:xfrm>
              <a:off x="4998244" y="2478087"/>
              <a:ext cx="1524000" cy="1524000"/>
            </a:xfrm>
            <a:prstGeom prst="ellipse">
              <a:avLst/>
            </a:prstGeom>
            <a:solidFill>
              <a:srgbClr val="52C9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10" name="Vector">
              <a:extLst>
                <a:ext uri="{FF2B5EF4-FFF2-40B4-BE49-F238E27FC236}">
                  <a16:creationId xmlns:a16="http://schemas.microsoft.com/office/drawing/2014/main" id="{87E6D8AD-A38F-E9B0-F28F-9B3B8F421AC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bwMode="gray">
            <a:xfrm>
              <a:off x="4998244" y="2478087"/>
              <a:ext cx="1524000" cy="1524000"/>
            </a:xfrm>
            <a:prstGeom prst="rect">
              <a:avLst/>
            </a:prstGeom>
          </p:spPr>
        </p:pic>
      </p:grpSp>
      <p:grpSp>
        <p:nvGrpSpPr>
          <p:cNvPr id="11" name="easyIcon">
            <a:extLst>
              <a:ext uri="{FF2B5EF4-FFF2-40B4-BE49-F238E27FC236}">
                <a16:creationId xmlns:a16="http://schemas.microsoft.com/office/drawing/2014/main" id="{7F0CC0ED-49CC-4D9F-1599-167EF8FF0781}"/>
              </a:ext>
            </a:extLst>
          </p:cNvPr>
          <p:cNvGrpSpPr>
            <a:grpSpLocks noChangeAspect="1"/>
          </p:cNvGrpSpPr>
          <p:nvPr>
            <p:custDataLst>
              <p:tags r:id="rId2"/>
            </p:custDataLst>
          </p:nvPr>
        </p:nvGrpSpPr>
        <p:grpSpPr>
          <a:xfrm>
            <a:off x="4957405" y="5087904"/>
            <a:ext cx="720000" cy="720000"/>
            <a:chOff x="669861" y="5256389"/>
            <a:chExt cx="720000" cy="720000"/>
          </a:xfrm>
        </p:grpSpPr>
        <p:sp>
          <p:nvSpPr>
            <p:cNvPr id="12" name="backgroundFixed">
              <a:extLst>
                <a:ext uri="{FF2B5EF4-FFF2-40B4-BE49-F238E27FC236}">
                  <a16:creationId xmlns:a16="http://schemas.microsoft.com/office/drawing/2014/main" id="{7B2BE408-6D62-8B5D-DFCA-B89220F548FD}"/>
                </a:ext>
              </a:extLst>
            </p:cNvPr>
            <p:cNvSpPr/>
            <p:nvPr>
              <p:custDataLst>
                <p:tags r:id="rId9"/>
              </p:custDataLst>
            </p:nvPr>
          </p:nvSpPr>
          <p:spPr>
            <a:xfrm>
              <a:off x="669861" y="5256389"/>
              <a:ext cx="720000" cy="720000"/>
            </a:xfrm>
            <a:prstGeom prst="ellipse">
              <a:avLst/>
            </a:prstGeom>
            <a:solidFill>
              <a:srgbClr val="52C9FF"/>
            </a:solidFill>
            <a:ln w="6350" cap="flat" cmpd="sng" algn="ctr">
              <a:solidFill>
                <a:srgbClr val="52C9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13" name="Vector">
              <a:extLst>
                <a:ext uri="{FF2B5EF4-FFF2-40B4-BE49-F238E27FC236}">
                  <a16:creationId xmlns:a16="http://schemas.microsoft.com/office/drawing/2014/main" id="{8F31ECA8-2313-2950-8746-33D7D3F6F53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bwMode="gray">
            <a:xfrm>
              <a:off x="669861" y="5256389"/>
              <a:ext cx="720000" cy="720000"/>
            </a:xfrm>
            <a:prstGeom prst="rect">
              <a:avLst/>
            </a:prstGeom>
          </p:spPr>
        </p:pic>
      </p:grpSp>
      <p:grpSp>
        <p:nvGrpSpPr>
          <p:cNvPr id="14" name="easyIcon">
            <a:extLst>
              <a:ext uri="{FF2B5EF4-FFF2-40B4-BE49-F238E27FC236}">
                <a16:creationId xmlns:a16="http://schemas.microsoft.com/office/drawing/2014/main" id="{DDD49609-E70B-C5DF-B711-BD38AA19A4CE}"/>
              </a:ext>
            </a:extLst>
          </p:cNvPr>
          <p:cNvGrpSpPr>
            <a:grpSpLocks noChangeAspect="1"/>
          </p:cNvGrpSpPr>
          <p:nvPr>
            <p:custDataLst>
              <p:tags r:id="rId3"/>
            </p:custDataLst>
          </p:nvPr>
        </p:nvGrpSpPr>
        <p:grpSpPr>
          <a:xfrm>
            <a:off x="8604560" y="5464237"/>
            <a:ext cx="720000" cy="720000"/>
            <a:chOff x="4874645" y="2232479"/>
            <a:chExt cx="720000" cy="720000"/>
          </a:xfrm>
        </p:grpSpPr>
        <p:sp>
          <p:nvSpPr>
            <p:cNvPr id="15" name="backgroundFixed">
              <a:extLst>
                <a:ext uri="{FF2B5EF4-FFF2-40B4-BE49-F238E27FC236}">
                  <a16:creationId xmlns:a16="http://schemas.microsoft.com/office/drawing/2014/main" id="{BA195798-05DB-1204-BC55-785645A21836}"/>
                </a:ext>
              </a:extLst>
            </p:cNvPr>
            <p:cNvSpPr/>
            <p:nvPr>
              <p:custDataLst>
                <p:tags r:id="rId8"/>
              </p:custDataLst>
            </p:nvPr>
          </p:nvSpPr>
          <p:spPr>
            <a:xfrm>
              <a:off x="4874645" y="2232479"/>
              <a:ext cx="720000" cy="720000"/>
            </a:xfrm>
            <a:prstGeom prst="ellipse">
              <a:avLst/>
            </a:prstGeom>
            <a:solidFill>
              <a:srgbClr val="52C9FF"/>
            </a:solidFill>
            <a:ln w="6350" cap="flat" cmpd="sng" algn="ctr">
              <a:solidFill>
                <a:srgbClr val="52C9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16" name="Vector">
              <a:extLst>
                <a:ext uri="{FF2B5EF4-FFF2-40B4-BE49-F238E27FC236}">
                  <a16:creationId xmlns:a16="http://schemas.microsoft.com/office/drawing/2014/main" id="{7E51FC7E-277C-F61D-BE15-0C6A2A84A0B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bwMode="gray">
            <a:xfrm>
              <a:off x="4874645" y="2232479"/>
              <a:ext cx="720000" cy="720000"/>
            </a:xfrm>
            <a:prstGeom prst="rect">
              <a:avLst/>
            </a:prstGeom>
          </p:spPr>
        </p:pic>
      </p:grpSp>
      <p:cxnSp>
        <p:nvCxnSpPr>
          <p:cNvPr id="17" name="Straight Connector 16">
            <a:extLst>
              <a:ext uri="{FF2B5EF4-FFF2-40B4-BE49-F238E27FC236}">
                <a16:creationId xmlns:a16="http://schemas.microsoft.com/office/drawing/2014/main" id="{F06F5F5B-EE89-7E0B-AEB8-AF5A0E9F4C0E}"/>
              </a:ext>
            </a:extLst>
          </p:cNvPr>
          <p:cNvCxnSpPr/>
          <p:nvPr/>
        </p:nvCxnSpPr>
        <p:spPr>
          <a:xfrm>
            <a:off x="3708016" y="1468840"/>
            <a:ext cx="0" cy="378747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924F2B0-C3F6-BC65-2B73-BB4CFE64EADD}"/>
              </a:ext>
            </a:extLst>
          </p:cNvPr>
          <p:cNvCxnSpPr/>
          <p:nvPr/>
        </p:nvCxnSpPr>
        <p:spPr>
          <a:xfrm>
            <a:off x="7740464" y="1468840"/>
            <a:ext cx="0" cy="378747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IAV Vehicle">
            <a:extLst>
              <a:ext uri="{FF2B5EF4-FFF2-40B4-BE49-F238E27FC236}">
                <a16:creationId xmlns:a16="http://schemas.microsoft.com/office/drawing/2014/main" id="{5C88C467-EEDF-9D5B-3311-543FF509830A}"/>
              </a:ext>
            </a:extLst>
          </p:cNvPr>
          <p:cNvSpPr>
            <a:spLocks noChangeAspect="1" noEditPoints="1"/>
          </p:cNvSpPr>
          <p:nvPr/>
        </p:nvSpPr>
        <p:spPr bwMode="auto">
          <a:xfrm>
            <a:off x="1940208" y="5392737"/>
            <a:ext cx="1230313" cy="439738"/>
          </a:xfrm>
          <a:custGeom>
            <a:avLst/>
            <a:gdLst>
              <a:gd name="T0" fmla="*/ 720 w 861"/>
              <a:gd name="T1" fmla="*/ 183 h 308"/>
              <a:gd name="T2" fmla="*/ 657 w 861"/>
              <a:gd name="T3" fmla="*/ 246 h 308"/>
              <a:gd name="T4" fmla="*/ 720 w 861"/>
              <a:gd name="T5" fmla="*/ 308 h 308"/>
              <a:gd name="T6" fmla="*/ 782 w 861"/>
              <a:gd name="T7" fmla="*/ 246 h 308"/>
              <a:gd name="T8" fmla="*/ 720 w 861"/>
              <a:gd name="T9" fmla="*/ 183 h 308"/>
              <a:gd name="T10" fmla="*/ 720 w 861"/>
              <a:gd name="T11" fmla="*/ 285 h 308"/>
              <a:gd name="T12" fmla="*/ 680 w 861"/>
              <a:gd name="T13" fmla="*/ 246 h 308"/>
              <a:gd name="T14" fmla="*/ 720 w 861"/>
              <a:gd name="T15" fmla="*/ 206 h 308"/>
              <a:gd name="T16" fmla="*/ 759 w 861"/>
              <a:gd name="T17" fmla="*/ 246 h 308"/>
              <a:gd name="T18" fmla="*/ 720 w 861"/>
              <a:gd name="T19" fmla="*/ 285 h 308"/>
              <a:gd name="T20" fmla="*/ 164 w 861"/>
              <a:gd name="T21" fmla="*/ 183 h 308"/>
              <a:gd name="T22" fmla="*/ 102 w 861"/>
              <a:gd name="T23" fmla="*/ 246 h 308"/>
              <a:gd name="T24" fmla="*/ 164 w 861"/>
              <a:gd name="T25" fmla="*/ 308 h 308"/>
              <a:gd name="T26" fmla="*/ 226 w 861"/>
              <a:gd name="T27" fmla="*/ 246 h 308"/>
              <a:gd name="T28" fmla="*/ 164 w 861"/>
              <a:gd name="T29" fmla="*/ 183 h 308"/>
              <a:gd name="T30" fmla="*/ 164 w 861"/>
              <a:gd name="T31" fmla="*/ 285 h 308"/>
              <a:gd name="T32" fmla="*/ 124 w 861"/>
              <a:gd name="T33" fmla="*/ 246 h 308"/>
              <a:gd name="T34" fmla="*/ 164 w 861"/>
              <a:gd name="T35" fmla="*/ 206 h 308"/>
              <a:gd name="T36" fmla="*/ 204 w 861"/>
              <a:gd name="T37" fmla="*/ 246 h 308"/>
              <a:gd name="T38" fmla="*/ 164 w 861"/>
              <a:gd name="T39" fmla="*/ 285 h 308"/>
              <a:gd name="T40" fmla="*/ 824 w 861"/>
              <a:gd name="T41" fmla="*/ 144 h 308"/>
              <a:gd name="T42" fmla="*/ 628 w 861"/>
              <a:gd name="T43" fmla="*/ 96 h 308"/>
              <a:gd name="T44" fmla="*/ 597 w 861"/>
              <a:gd name="T45" fmla="*/ 80 h 308"/>
              <a:gd name="T46" fmla="*/ 471 w 861"/>
              <a:gd name="T47" fmla="*/ 25 h 308"/>
              <a:gd name="T48" fmla="*/ 162 w 861"/>
              <a:gd name="T49" fmla="*/ 76 h 308"/>
              <a:gd name="T50" fmla="*/ 38 w 861"/>
              <a:gd name="T51" fmla="*/ 110 h 308"/>
              <a:gd name="T52" fmla="*/ 35 w 861"/>
              <a:gd name="T53" fmla="*/ 112 h 308"/>
              <a:gd name="T54" fmla="*/ 0 w 861"/>
              <a:gd name="T55" fmla="*/ 257 h 308"/>
              <a:gd name="T56" fmla="*/ 5 w 861"/>
              <a:gd name="T57" fmla="*/ 263 h 308"/>
              <a:gd name="T58" fmla="*/ 93 w 861"/>
              <a:gd name="T59" fmla="*/ 264 h 308"/>
              <a:gd name="T60" fmla="*/ 90 w 861"/>
              <a:gd name="T61" fmla="*/ 246 h 308"/>
              <a:gd name="T62" fmla="*/ 164 w 861"/>
              <a:gd name="T63" fmla="*/ 172 h 308"/>
              <a:gd name="T64" fmla="*/ 238 w 861"/>
              <a:gd name="T65" fmla="*/ 246 h 308"/>
              <a:gd name="T66" fmla="*/ 235 w 861"/>
              <a:gd name="T67" fmla="*/ 265 h 308"/>
              <a:gd name="T68" fmla="*/ 649 w 861"/>
              <a:gd name="T69" fmla="*/ 267 h 308"/>
              <a:gd name="T70" fmla="*/ 646 w 861"/>
              <a:gd name="T71" fmla="*/ 246 h 308"/>
              <a:gd name="T72" fmla="*/ 720 w 861"/>
              <a:gd name="T73" fmla="*/ 172 h 308"/>
              <a:gd name="T74" fmla="*/ 793 w 861"/>
              <a:gd name="T75" fmla="*/ 246 h 308"/>
              <a:gd name="T76" fmla="*/ 790 w 861"/>
              <a:gd name="T77" fmla="*/ 268 h 308"/>
              <a:gd name="T78" fmla="*/ 856 w 861"/>
              <a:gd name="T79" fmla="*/ 268 h 308"/>
              <a:gd name="T80" fmla="*/ 856 w 861"/>
              <a:gd name="T81" fmla="*/ 268 h 308"/>
              <a:gd name="T82" fmla="*/ 860 w 861"/>
              <a:gd name="T83" fmla="*/ 267 h 308"/>
              <a:gd name="T84" fmla="*/ 861 w 861"/>
              <a:gd name="T85" fmla="*/ 263 h 308"/>
              <a:gd name="T86" fmla="*/ 824 w 861"/>
              <a:gd name="T87" fmla="*/ 144 h 308"/>
              <a:gd name="T88" fmla="*/ 561 w 861"/>
              <a:gd name="T89" fmla="*/ 115 h 308"/>
              <a:gd name="T90" fmla="*/ 209 w 861"/>
              <a:gd name="T91" fmla="*/ 93 h 308"/>
              <a:gd name="T92" fmla="*/ 437 w 861"/>
              <a:gd name="T93" fmla="*/ 36 h 308"/>
              <a:gd name="T94" fmla="*/ 561 w 861"/>
              <a:gd name="T95" fmla="*/ 115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1" h="308">
                <a:moveTo>
                  <a:pt x="720" y="183"/>
                </a:moveTo>
                <a:cubicBezTo>
                  <a:pt x="685" y="183"/>
                  <a:pt x="657" y="211"/>
                  <a:pt x="657" y="246"/>
                </a:cubicBezTo>
                <a:cubicBezTo>
                  <a:pt x="657" y="280"/>
                  <a:pt x="685" y="308"/>
                  <a:pt x="720" y="308"/>
                </a:cubicBezTo>
                <a:cubicBezTo>
                  <a:pt x="754" y="308"/>
                  <a:pt x="782" y="280"/>
                  <a:pt x="782" y="246"/>
                </a:cubicBezTo>
                <a:cubicBezTo>
                  <a:pt x="782" y="211"/>
                  <a:pt x="754" y="183"/>
                  <a:pt x="720" y="183"/>
                </a:cubicBezTo>
                <a:close/>
                <a:moveTo>
                  <a:pt x="720" y="285"/>
                </a:moveTo>
                <a:cubicBezTo>
                  <a:pt x="698" y="285"/>
                  <a:pt x="680" y="268"/>
                  <a:pt x="680" y="246"/>
                </a:cubicBezTo>
                <a:cubicBezTo>
                  <a:pt x="680" y="224"/>
                  <a:pt x="698" y="206"/>
                  <a:pt x="720" y="206"/>
                </a:cubicBezTo>
                <a:cubicBezTo>
                  <a:pt x="742" y="206"/>
                  <a:pt x="759" y="224"/>
                  <a:pt x="759" y="246"/>
                </a:cubicBezTo>
                <a:cubicBezTo>
                  <a:pt x="759" y="268"/>
                  <a:pt x="742" y="285"/>
                  <a:pt x="720" y="285"/>
                </a:cubicBezTo>
                <a:close/>
                <a:moveTo>
                  <a:pt x="164" y="183"/>
                </a:moveTo>
                <a:cubicBezTo>
                  <a:pt x="130" y="183"/>
                  <a:pt x="102" y="211"/>
                  <a:pt x="102" y="246"/>
                </a:cubicBezTo>
                <a:cubicBezTo>
                  <a:pt x="102" y="280"/>
                  <a:pt x="130" y="308"/>
                  <a:pt x="164" y="308"/>
                </a:cubicBezTo>
                <a:cubicBezTo>
                  <a:pt x="198" y="308"/>
                  <a:pt x="226" y="280"/>
                  <a:pt x="226" y="246"/>
                </a:cubicBezTo>
                <a:cubicBezTo>
                  <a:pt x="226" y="211"/>
                  <a:pt x="198" y="183"/>
                  <a:pt x="164" y="183"/>
                </a:cubicBezTo>
                <a:close/>
                <a:moveTo>
                  <a:pt x="164" y="285"/>
                </a:moveTo>
                <a:cubicBezTo>
                  <a:pt x="142" y="285"/>
                  <a:pt x="124" y="268"/>
                  <a:pt x="124" y="246"/>
                </a:cubicBezTo>
                <a:cubicBezTo>
                  <a:pt x="124" y="224"/>
                  <a:pt x="142" y="206"/>
                  <a:pt x="164" y="206"/>
                </a:cubicBezTo>
                <a:cubicBezTo>
                  <a:pt x="186" y="206"/>
                  <a:pt x="204" y="224"/>
                  <a:pt x="204" y="246"/>
                </a:cubicBezTo>
                <a:cubicBezTo>
                  <a:pt x="204" y="268"/>
                  <a:pt x="186" y="285"/>
                  <a:pt x="164" y="285"/>
                </a:cubicBezTo>
                <a:close/>
                <a:moveTo>
                  <a:pt x="824" y="144"/>
                </a:moveTo>
                <a:cubicBezTo>
                  <a:pt x="790" y="119"/>
                  <a:pt x="729" y="108"/>
                  <a:pt x="628" y="96"/>
                </a:cubicBezTo>
                <a:cubicBezTo>
                  <a:pt x="624" y="95"/>
                  <a:pt x="611" y="88"/>
                  <a:pt x="597" y="80"/>
                </a:cubicBezTo>
                <a:cubicBezTo>
                  <a:pt x="567" y="62"/>
                  <a:pt x="521" y="35"/>
                  <a:pt x="471" y="25"/>
                </a:cubicBezTo>
                <a:cubicBezTo>
                  <a:pt x="355" y="0"/>
                  <a:pt x="276" y="23"/>
                  <a:pt x="162" y="76"/>
                </a:cubicBezTo>
                <a:cubicBezTo>
                  <a:pt x="130" y="91"/>
                  <a:pt x="39" y="110"/>
                  <a:pt x="38" y="110"/>
                </a:cubicBezTo>
                <a:cubicBezTo>
                  <a:pt x="37" y="110"/>
                  <a:pt x="36" y="111"/>
                  <a:pt x="35" y="112"/>
                </a:cubicBezTo>
                <a:cubicBezTo>
                  <a:pt x="34" y="113"/>
                  <a:pt x="0" y="152"/>
                  <a:pt x="0" y="257"/>
                </a:cubicBezTo>
                <a:cubicBezTo>
                  <a:pt x="0" y="261"/>
                  <a:pt x="2" y="263"/>
                  <a:pt x="5" y="263"/>
                </a:cubicBezTo>
                <a:cubicBezTo>
                  <a:pt x="93" y="264"/>
                  <a:pt x="93" y="264"/>
                  <a:pt x="93" y="264"/>
                </a:cubicBezTo>
                <a:cubicBezTo>
                  <a:pt x="91" y="258"/>
                  <a:pt x="90" y="252"/>
                  <a:pt x="90" y="246"/>
                </a:cubicBezTo>
                <a:cubicBezTo>
                  <a:pt x="90" y="205"/>
                  <a:pt x="123" y="172"/>
                  <a:pt x="164" y="172"/>
                </a:cubicBezTo>
                <a:cubicBezTo>
                  <a:pt x="205" y="172"/>
                  <a:pt x="238" y="205"/>
                  <a:pt x="238" y="246"/>
                </a:cubicBezTo>
                <a:cubicBezTo>
                  <a:pt x="238" y="252"/>
                  <a:pt x="237" y="259"/>
                  <a:pt x="235" y="265"/>
                </a:cubicBezTo>
                <a:cubicBezTo>
                  <a:pt x="649" y="267"/>
                  <a:pt x="649" y="267"/>
                  <a:pt x="649" y="267"/>
                </a:cubicBezTo>
                <a:cubicBezTo>
                  <a:pt x="647" y="260"/>
                  <a:pt x="646" y="253"/>
                  <a:pt x="646" y="246"/>
                </a:cubicBezTo>
                <a:cubicBezTo>
                  <a:pt x="646" y="205"/>
                  <a:pt x="679" y="172"/>
                  <a:pt x="720" y="172"/>
                </a:cubicBezTo>
                <a:cubicBezTo>
                  <a:pt x="760" y="172"/>
                  <a:pt x="793" y="205"/>
                  <a:pt x="793" y="246"/>
                </a:cubicBezTo>
                <a:cubicBezTo>
                  <a:pt x="793" y="253"/>
                  <a:pt x="792" y="261"/>
                  <a:pt x="790" y="268"/>
                </a:cubicBezTo>
                <a:cubicBezTo>
                  <a:pt x="856" y="268"/>
                  <a:pt x="856" y="268"/>
                  <a:pt x="856" y="268"/>
                </a:cubicBezTo>
                <a:cubicBezTo>
                  <a:pt x="856" y="268"/>
                  <a:pt x="856" y="268"/>
                  <a:pt x="856" y="268"/>
                </a:cubicBezTo>
                <a:cubicBezTo>
                  <a:pt x="857" y="268"/>
                  <a:pt x="859" y="268"/>
                  <a:pt x="860" y="267"/>
                </a:cubicBezTo>
                <a:cubicBezTo>
                  <a:pt x="861" y="266"/>
                  <a:pt x="861" y="264"/>
                  <a:pt x="861" y="263"/>
                </a:cubicBezTo>
                <a:cubicBezTo>
                  <a:pt x="861" y="201"/>
                  <a:pt x="856" y="168"/>
                  <a:pt x="824" y="144"/>
                </a:cubicBezTo>
                <a:close/>
                <a:moveTo>
                  <a:pt x="561" y="115"/>
                </a:moveTo>
                <a:cubicBezTo>
                  <a:pt x="515" y="126"/>
                  <a:pt x="209" y="93"/>
                  <a:pt x="209" y="93"/>
                </a:cubicBezTo>
                <a:cubicBezTo>
                  <a:pt x="209" y="93"/>
                  <a:pt x="298" y="18"/>
                  <a:pt x="437" y="36"/>
                </a:cubicBezTo>
                <a:cubicBezTo>
                  <a:pt x="517" y="46"/>
                  <a:pt x="602" y="106"/>
                  <a:pt x="561" y="11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nvGrpSpPr>
          <p:cNvPr id="20" name="easyIcon">
            <a:extLst>
              <a:ext uri="{FF2B5EF4-FFF2-40B4-BE49-F238E27FC236}">
                <a16:creationId xmlns:a16="http://schemas.microsoft.com/office/drawing/2014/main" id="{178AEB9B-2A80-4A85-B5CF-0D3A17E82D13}"/>
              </a:ext>
            </a:extLst>
          </p:cNvPr>
          <p:cNvGrpSpPr>
            <a:grpSpLocks noChangeAspect="1"/>
          </p:cNvGrpSpPr>
          <p:nvPr>
            <p:custDataLst>
              <p:tags r:id="rId4"/>
            </p:custDataLst>
          </p:nvPr>
        </p:nvGrpSpPr>
        <p:grpSpPr>
          <a:xfrm>
            <a:off x="9385358" y="5464237"/>
            <a:ext cx="720000" cy="720000"/>
            <a:chOff x="2719741" y="1150756"/>
            <a:chExt cx="721100" cy="721100"/>
          </a:xfrm>
        </p:grpSpPr>
        <p:sp>
          <p:nvSpPr>
            <p:cNvPr id="21" name="backgroundFixed">
              <a:extLst>
                <a:ext uri="{FF2B5EF4-FFF2-40B4-BE49-F238E27FC236}">
                  <a16:creationId xmlns:a16="http://schemas.microsoft.com/office/drawing/2014/main" id="{E289D832-36CD-51FA-80C1-BD613A9433C9}"/>
                </a:ext>
              </a:extLst>
            </p:cNvPr>
            <p:cNvSpPr/>
            <p:nvPr>
              <p:custDataLst>
                <p:tags r:id="rId7"/>
              </p:custDataLst>
            </p:nvPr>
          </p:nvSpPr>
          <p:spPr>
            <a:xfrm>
              <a:off x="2719741" y="1150756"/>
              <a:ext cx="721100" cy="721100"/>
            </a:xfrm>
            <a:prstGeom prst="ellipse">
              <a:avLst/>
            </a:prstGeom>
            <a:solidFill>
              <a:srgbClr val="52C9FF"/>
            </a:solidFill>
            <a:ln w="6350" cap="flat" cmpd="sng" algn="ctr">
              <a:solidFill>
                <a:srgbClr val="52C9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22" name="Vector">
              <a:extLst>
                <a:ext uri="{FF2B5EF4-FFF2-40B4-BE49-F238E27FC236}">
                  <a16:creationId xmlns:a16="http://schemas.microsoft.com/office/drawing/2014/main" id="{A9AE8090-E77D-E1B9-F6A4-AC728775C7C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bwMode="gray">
            <a:xfrm>
              <a:off x="2719741" y="1150756"/>
              <a:ext cx="721100" cy="721100"/>
            </a:xfrm>
            <a:prstGeom prst="rect">
              <a:avLst/>
            </a:prstGeom>
          </p:spPr>
        </p:pic>
      </p:grpSp>
      <p:grpSp>
        <p:nvGrpSpPr>
          <p:cNvPr id="23" name="easyIcon">
            <a:extLst>
              <a:ext uri="{FF2B5EF4-FFF2-40B4-BE49-F238E27FC236}">
                <a16:creationId xmlns:a16="http://schemas.microsoft.com/office/drawing/2014/main" id="{563F5661-8A9F-60A9-CA7C-F39F66058088}"/>
              </a:ext>
            </a:extLst>
          </p:cNvPr>
          <p:cNvGrpSpPr>
            <a:grpSpLocks noChangeAspect="1"/>
          </p:cNvGrpSpPr>
          <p:nvPr>
            <p:custDataLst>
              <p:tags r:id="rId5"/>
            </p:custDataLst>
          </p:nvPr>
        </p:nvGrpSpPr>
        <p:grpSpPr>
          <a:xfrm>
            <a:off x="5807308" y="5085034"/>
            <a:ext cx="720000" cy="720000"/>
            <a:chOff x="7622635" y="2100487"/>
            <a:chExt cx="1524000" cy="1524000"/>
          </a:xfrm>
        </p:grpSpPr>
        <p:sp>
          <p:nvSpPr>
            <p:cNvPr id="24" name="backgroundFixed">
              <a:extLst>
                <a:ext uri="{FF2B5EF4-FFF2-40B4-BE49-F238E27FC236}">
                  <a16:creationId xmlns:a16="http://schemas.microsoft.com/office/drawing/2014/main" id="{9CAE4053-262C-6401-95C7-817285B7D372}"/>
                </a:ext>
              </a:extLst>
            </p:cNvPr>
            <p:cNvSpPr/>
            <p:nvPr>
              <p:custDataLst>
                <p:tags r:id="rId6"/>
              </p:custDataLst>
            </p:nvPr>
          </p:nvSpPr>
          <p:spPr>
            <a:xfrm>
              <a:off x="7622635" y="2100487"/>
              <a:ext cx="1524000" cy="1524000"/>
            </a:xfrm>
            <a:prstGeom prst="ellipse">
              <a:avLst/>
            </a:prstGeom>
            <a:solidFill>
              <a:srgbClr val="52C9FF"/>
            </a:solidFill>
            <a:ln w="6350" cap="flat" cmpd="sng" algn="ctr">
              <a:solidFill>
                <a:srgbClr val="52C9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25" name="Vector">
              <a:extLst>
                <a:ext uri="{FF2B5EF4-FFF2-40B4-BE49-F238E27FC236}">
                  <a16:creationId xmlns:a16="http://schemas.microsoft.com/office/drawing/2014/main" id="{A428C3DD-A263-660D-F71B-FD838786839C}"/>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bwMode="gray">
            <a:xfrm>
              <a:off x="7622635" y="2100487"/>
              <a:ext cx="1524000" cy="1524000"/>
            </a:xfrm>
            <a:prstGeom prst="rect">
              <a:avLst/>
            </a:prstGeom>
          </p:spPr>
        </p:pic>
      </p:grpSp>
      <p:sp>
        <p:nvSpPr>
          <p:cNvPr id="26" name="TextBox 25">
            <a:extLst>
              <a:ext uri="{FF2B5EF4-FFF2-40B4-BE49-F238E27FC236}">
                <a16:creationId xmlns:a16="http://schemas.microsoft.com/office/drawing/2014/main" id="{F5D3C61A-5B2D-EECB-63D9-C2327611D595}"/>
              </a:ext>
            </a:extLst>
          </p:cNvPr>
          <p:cNvSpPr txBox="1"/>
          <p:nvPr/>
        </p:nvSpPr>
        <p:spPr>
          <a:xfrm>
            <a:off x="9720684" y="-1"/>
            <a:ext cx="3138292" cy="528606"/>
          </a:xfrm>
          <a:prstGeom prst="rect">
            <a:avLst/>
          </a:prstGeom>
          <a:noFill/>
        </p:spPr>
        <p:txBody>
          <a:bodyPr wrap="square" rtlCol="0">
            <a:spAutoFit/>
          </a:bodyPr>
          <a:lstStyle/>
          <a:p>
            <a:r>
              <a:rPr lang="en-US" sz="945" dirty="0"/>
              <a:t>EV: Electric Vehicle</a:t>
            </a:r>
          </a:p>
          <a:p>
            <a:r>
              <a:rPr lang="en-US" sz="945" dirty="0"/>
              <a:t>DoS: Denial of Service</a:t>
            </a:r>
          </a:p>
          <a:p>
            <a:pPr algn="l"/>
            <a:r>
              <a:rPr lang="en-US" sz="945" dirty="0"/>
              <a:t>IVI: In-Vehicle Infotainment</a:t>
            </a:r>
          </a:p>
        </p:txBody>
      </p:sp>
      <p:sp>
        <p:nvSpPr>
          <p:cNvPr id="27" name="Footer Placeholder 2">
            <a:extLst>
              <a:ext uri="{FF2B5EF4-FFF2-40B4-BE49-F238E27FC236}">
                <a16:creationId xmlns:a16="http://schemas.microsoft.com/office/drawing/2014/main" id="{D655EE26-B8F7-2DFF-66FE-8919399566D6}"/>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spTree>
    <p:extLst>
      <p:ext uri="{BB962C8B-B14F-4D97-AF65-F5344CB8AC3E}">
        <p14:creationId xmlns:p14="http://schemas.microsoft.com/office/powerpoint/2010/main" val="8071743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p:bldP spid="6" grpId="0"/>
      <p:bldP spid="7" grpId="0"/>
      <p:bldP spid="1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Underwater bubbles and sunlight">
            <a:extLst>
              <a:ext uri="{FF2B5EF4-FFF2-40B4-BE49-F238E27FC236}">
                <a16:creationId xmlns:a16="http://schemas.microsoft.com/office/drawing/2014/main" id="{27E7A656-E732-3AD0-EB07-9089DEB7936C}"/>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t="7803" b="7803"/>
          <a:stretch>
            <a:fillRect/>
          </a:stretch>
        </p:blipFill>
        <p:spPr/>
      </p:pic>
      <p:sp>
        <p:nvSpPr>
          <p:cNvPr id="8" name="Title 7">
            <a:extLst>
              <a:ext uri="{FF2B5EF4-FFF2-40B4-BE49-F238E27FC236}">
                <a16:creationId xmlns:a16="http://schemas.microsoft.com/office/drawing/2014/main" id="{378A2730-911A-32B7-327C-C8ADFDA090CD}"/>
              </a:ext>
            </a:extLst>
          </p:cNvPr>
          <p:cNvSpPr>
            <a:spLocks noGrp="1"/>
          </p:cNvSpPr>
          <p:nvPr>
            <p:ph type="title"/>
          </p:nvPr>
        </p:nvSpPr>
        <p:spPr>
          <a:xfrm>
            <a:off x="539750" y="4942443"/>
            <a:ext cx="10440988" cy="890032"/>
          </a:xfrm>
        </p:spPr>
        <p:txBody>
          <a:bodyPr/>
          <a:lstStyle/>
          <a:p>
            <a:r>
              <a:rPr lang="en-US" dirty="0"/>
              <a:t>Deep Dive</a:t>
            </a:r>
          </a:p>
        </p:txBody>
      </p:sp>
    </p:spTree>
    <p:extLst>
      <p:ext uri="{BB962C8B-B14F-4D97-AF65-F5344CB8AC3E}">
        <p14:creationId xmlns:p14="http://schemas.microsoft.com/office/powerpoint/2010/main" val="42064375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1C46DB-16C2-8F4E-BF5C-E7997FFA267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2DD3A7A-68F4-25BF-66B4-F9794589296A}"/>
              </a:ext>
            </a:extLst>
          </p:cNvPr>
          <p:cNvSpPr>
            <a:spLocks noGrp="1"/>
          </p:cNvSpPr>
          <p:nvPr>
            <p:ph type="title"/>
          </p:nvPr>
        </p:nvSpPr>
        <p:spPr/>
        <p:txBody>
          <a:bodyPr/>
          <a:lstStyle/>
          <a:p>
            <a:r>
              <a:rPr lang="en-US" dirty="0"/>
              <a:t>Overview of Architecture</a:t>
            </a:r>
          </a:p>
        </p:txBody>
      </p:sp>
      <p:sp>
        <p:nvSpPr>
          <p:cNvPr id="3" name="Footer Placeholder 2">
            <a:extLst>
              <a:ext uri="{FF2B5EF4-FFF2-40B4-BE49-F238E27FC236}">
                <a16:creationId xmlns:a16="http://schemas.microsoft.com/office/drawing/2014/main" id="{12CB7745-F120-C454-9BDB-0D4E441FA728}"/>
              </a:ext>
            </a:extLst>
          </p:cNvPr>
          <p:cNvSpPr>
            <a:spLocks noGrp="1"/>
          </p:cNvSpPr>
          <p:nvPr>
            <p:ph type="ftr" sz="quarter" idx="10"/>
          </p:nvPr>
        </p:nvSpPr>
        <p:spPr/>
        <p:txBody>
          <a:bodyPr/>
          <a:lstStyle/>
          <a:p>
            <a:r>
              <a:rPr lang="en-US" dirty="0"/>
              <a:t>IAV  05/2025  IAVJ  DKO  Status: draft, confidential</a:t>
            </a:r>
          </a:p>
        </p:txBody>
      </p:sp>
      <p:sp>
        <p:nvSpPr>
          <p:cNvPr id="4" name="Slide Number Placeholder 3">
            <a:extLst>
              <a:ext uri="{FF2B5EF4-FFF2-40B4-BE49-F238E27FC236}">
                <a16:creationId xmlns:a16="http://schemas.microsoft.com/office/drawing/2014/main" id="{503E6CCB-2070-6A20-EEE4-BB17BAF900D6}"/>
              </a:ext>
            </a:extLst>
          </p:cNvPr>
          <p:cNvSpPr>
            <a:spLocks noGrp="1"/>
          </p:cNvSpPr>
          <p:nvPr>
            <p:ph type="sldNum" sz="quarter" idx="11"/>
          </p:nvPr>
        </p:nvSpPr>
        <p:spPr/>
        <p:txBody>
          <a:bodyPr/>
          <a:lstStyle/>
          <a:p>
            <a:fld id="{C651C7C4-31E4-E340-822E-DEA0EA75A835}" type="slidenum">
              <a:rPr lang="en-US" smtClean="0"/>
              <a:pPr/>
              <a:t>17</a:t>
            </a:fld>
            <a:endParaRPr lang="en-US" dirty="0"/>
          </a:p>
        </p:txBody>
      </p:sp>
      <p:cxnSp>
        <p:nvCxnSpPr>
          <p:cNvPr id="15" name="Straight Arrow Connector 14">
            <a:extLst>
              <a:ext uri="{FF2B5EF4-FFF2-40B4-BE49-F238E27FC236}">
                <a16:creationId xmlns:a16="http://schemas.microsoft.com/office/drawing/2014/main" id="{060F267F-63EE-994C-C4F7-99B05655018F}"/>
              </a:ext>
            </a:extLst>
          </p:cNvPr>
          <p:cNvCxnSpPr/>
          <p:nvPr/>
        </p:nvCxnSpPr>
        <p:spPr>
          <a:xfrm flipH="1" flipV="1">
            <a:off x="6828841" y="2354150"/>
            <a:ext cx="1764196" cy="1152128"/>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F8ED6255-A64C-7B59-400E-7181C5F48634}"/>
              </a:ext>
            </a:extLst>
          </p:cNvPr>
          <p:cNvCxnSpPr>
            <a:cxnSpLocks/>
          </p:cNvCxnSpPr>
          <p:nvPr/>
        </p:nvCxnSpPr>
        <p:spPr>
          <a:xfrm flipH="1">
            <a:off x="2545512" y="2354150"/>
            <a:ext cx="1764196" cy="1152128"/>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7A80632C-C4BA-DDCC-5C2B-F4BD9FEE8DBF}"/>
              </a:ext>
            </a:extLst>
          </p:cNvPr>
          <p:cNvSpPr/>
          <p:nvPr/>
        </p:nvSpPr>
        <p:spPr>
          <a:xfrm>
            <a:off x="1007716" y="5316168"/>
            <a:ext cx="9397044" cy="52908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en-US" sz="2000" dirty="0"/>
              <a:t>Several different entities involved in order to support the use cases</a:t>
            </a:r>
          </a:p>
        </p:txBody>
      </p:sp>
      <p:sp>
        <p:nvSpPr>
          <p:cNvPr id="12" name="IAV Vehicle">
            <a:extLst>
              <a:ext uri="{FF2B5EF4-FFF2-40B4-BE49-F238E27FC236}">
                <a16:creationId xmlns:a16="http://schemas.microsoft.com/office/drawing/2014/main" id="{7823748A-5A48-4FB3-CCD8-92EB8C8F7573}"/>
              </a:ext>
            </a:extLst>
          </p:cNvPr>
          <p:cNvSpPr>
            <a:spLocks noChangeAspect="1" noEditPoints="1"/>
          </p:cNvSpPr>
          <p:nvPr/>
        </p:nvSpPr>
        <p:spPr bwMode="auto">
          <a:xfrm>
            <a:off x="719664" y="3776532"/>
            <a:ext cx="2917732" cy="1121569"/>
          </a:xfrm>
          <a:custGeom>
            <a:avLst/>
            <a:gdLst>
              <a:gd name="T0" fmla="*/ 652 w 783"/>
              <a:gd name="T1" fmla="*/ 176 h 301"/>
              <a:gd name="T2" fmla="*/ 590 w 783"/>
              <a:gd name="T3" fmla="*/ 238 h 301"/>
              <a:gd name="T4" fmla="*/ 652 w 783"/>
              <a:gd name="T5" fmla="*/ 301 h 301"/>
              <a:gd name="T6" fmla="*/ 715 w 783"/>
              <a:gd name="T7" fmla="*/ 238 h 301"/>
              <a:gd name="T8" fmla="*/ 652 w 783"/>
              <a:gd name="T9" fmla="*/ 176 h 301"/>
              <a:gd name="T10" fmla="*/ 652 w 783"/>
              <a:gd name="T11" fmla="*/ 278 h 301"/>
              <a:gd name="T12" fmla="*/ 613 w 783"/>
              <a:gd name="T13" fmla="*/ 238 h 301"/>
              <a:gd name="T14" fmla="*/ 652 w 783"/>
              <a:gd name="T15" fmla="*/ 199 h 301"/>
              <a:gd name="T16" fmla="*/ 692 w 783"/>
              <a:gd name="T17" fmla="*/ 238 h 301"/>
              <a:gd name="T18" fmla="*/ 652 w 783"/>
              <a:gd name="T19" fmla="*/ 278 h 301"/>
              <a:gd name="T20" fmla="*/ 142 w 783"/>
              <a:gd name="T21" fmla="*/ 176 h 301"/>
              <a:gd name="T22" fmla="*/ 80 w 783"/>
              <a:gd name="T23" fmla="*/ 238 h 301"/>
              <a:gd name="T24" fmla="*/ 142 w 783"/>
              <a:gd name="T25" fmla="*/ 301 h 301"/>
              <a:gd name="T26" fmla="*/ 204 w 783"/>
              <a:gd name="T27" fmla="*/ 238 h 301"/>
              <a:gd name="T28" fmla="*/ 142 w 783"/>
              <a:gd name="T29" fmla="*/ 176 h 301"/>
              <a:gd name="T30" fmla="*/ 142 w 783"/>
              <a:gd name="T31" fmla="*/ 278 h 301"/>
              <a:gd name="T32" fmla="*/ 102 w 783"/>
              <a:gd name="T33" fmla="*/ 238 h 301"/>
              <a:gd name="T34" fmla="*/ 142 w 783"/>
              <a:gd name="T35" fmla="*/ 199 h 301"/>
              <a:gd name="T36" fmla="*/ 182 w 783"/>
              <a:gd name="T37" fmla="*/ 238 h 301"/>
              <a:gd name="T38" fmla="*/ 142 w 783"/>
              <a:gd name="T39" fmla="*/ 278 h 301"/>
              <a:gd name="T40" fmla="*/ 572 w 783"/>
              <a:gd name="T41" fmla="*/ 89 h 301"/>
              <a:gd name="T42" fmla="*/ 543 w 783"/>
              <a:gd name="T43" fmla="*/ 73 h 301"/>
              <a:gd name="T44" fmla="*/ 415 w 783"/>
              <a:gd name="T45" fmla="*/ 17 h 301"/>
              <a:gd name="T46" fmla="*/ 176 w 783"/>
              <a:gd name="T47" fmla="*/ 50 h 301"/>
              <a:gd name="T48" fmla="*/ 39 w 783"/>
              <a:gd name="T49" fmla="*/ 88 h 301"/>
              <a:gd name="T50" fmla="*/ 35 w 783"/>
              <a:gd name="T51" fmla="*/ 90 h 301"/>
              <a:gd name="T52" fmla="*/ 0 w 783"/>
              <a:gd name="T53" fmla="*/ 250 h 301"/>
              <a:gd name="T54" fmla="*/ 6 w 783"/>
              <a:gd name="T55" fmla="*/ 256 h 301"/>
              <a:gd name="T56" fmla="*/ 71 w 783"/>
              <a:gd name="T57" fmla="*/ 256 h 301"/>
              <a:gd name="T58" fmla="*/ 68 w 783"/>
              <a:gd name="T59" fmla="*/ 238 h 301"/>
              <a:gd name="T60" fmla="*/ 142 w 783"/>
              <a:gd name="T61" fmla="*/ 165 h 301"/>
              <a:gd name="T62" fmla="*/ 216 w 783"/>
              <a:gd name="T63" fmla="*/ 238 h 301"/>
              <a:gd name="T64" fmla="*/ 213 w 783"/>
              <a:gd name="T65" fmla="*/ 257 h 301"/>
              <a:gd name="T66" fmla="*/ 582 w 783"/>
              <a:gd name="T67" fmla="*/ 260 h 301"/>
              <a:gd name="T68" fmla="*/ 579 w 783"/>
              <a:gd name="T69" fmla="*/ 238 h 301"/>
              <a:gd name="T70" fmla="*/ 652 w 783"/>
              <a:gd name="T71" fmla="*/ 165 h 301"/>
              <a:gd name="T72" fmla="*/ 726 w 783"/>
              <a:gd name="T73" fmla="*/ 238 h 301"/>
              <a:gd name="T74" fmla="*/ 723 w 783"/>
              <a:gd name="T75" fmla="*/ 261 h 301"/>
              <a:gd name="T76" fmla="*/ 777 w 783"/>
              <a:gd name="T77" fmla="*/ 261 h 301"/>
              <a:gd name="T78" fmla="*/ 777 w 783"/>
              <a:gd name="T79" fmla="*/ 261 h 301"/>
              <a:gd name="T80" fmla="*/ 781 w 783"/>
              <a:gd name="T81" fmla="*/ 259 h 301"/>
              <a:gd name="T82" fmla="*/ 783 w 783"/>
              <a:gd name="T83" fmla="*/ 255 h 301"/>
              <a:gd name="T84" fmla="*/ 572 w 783"/>
              <a:gd name="T85" fmla="*/ 89 h 301"/>
              <a:gd name="T86" fmla="*/ 505 w 783"/>
              <a:gd name="T87" fmla="*/ 108 h 301"/>
              <a:gd name="T88" fmla="*/ 165 w 783"/>
              <a:gd name="T89" fmla="*/ 88 h 301"/>
              <a:gd name="T90" fmla="*/ 369 w 783"/>
              <a:gd name="T91" fmla="*/ 29 h 301"/>
              <a:gd name="T92" fmla="*/ 505 w 783"/>
              <a:gd name="T93" fmla="*/ 108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83" h="301">
                <a:moveTo>
                  <a:pt x="652" y="176"/>
                </a:moveTo>
                <a:cubicBezTo>
                  <a:pt x="618" y="176"/>
                  <a:pt x="590" y="204"/>
                  <a:pt x="590" y="238"/>
                </a:cubicBezTo>
                <a:cubicBezTo>
                  <a:pt x="590" y="273"/>
                  <a:pt x="618" y="301"/>
                  <a:pt x="652" y="301"/>
                </a:cubicBezTo>
                <a:cubicBezTo>
                  <a:pt x="687" y="301"/>
                  <a:pt x="715" y="273"/>
                  <a:pt x="715" y="238"/>
                </a:cubicBezTo>
                <a:cubicBezTo>
                  <a:pt x="715" y="204"/>
                  <a:pt x="687" y="176"/>
                  <a:pt x="652" y="176"/>
                </a:cubicBezTo>
                <a:close/>
                <a:moveTo>
                  <a:pt x="652" y="278"/>
                </a:moveTo>
                <a:cubicBezTo>
                  <a:pt x="630" y="278"/>
                  <a:pt x="613" y="260"/>
                  <a:pt x="613" y="238"/>
                </a:cubicBezTo>
                <a:cubicBezTo>
                  <a:pt x="613" y="217"/>
                  <a:pt x="630" y="199"/>
                  <a:pt x="652" y="199"/>
                </a:cubicBezTo>
                <a:cubicBezTo>
                  <a:pt x="674" y="199"/>
                  <a:pt x="692" y="217"/>
                  <a:pt x="692" y="238"/>
                </a:cubicBezTo>
                <a:cubicBezTo>
                  <a:pt x="692" y="260"/>
                  <a:pt x="674" y="278"/>
                  <a:pt x="652" y="278"/>
                </a:cubicBezTo>
                <a:close/>
                <a:moveTo>
                  <a:pt x="142" y="176"/>
                </a:moveTo>
                <a:cubicBezTo>
                  <a:pt x="108" y="176"/>
                  <a:pt x="80" y="204"/>
                  <a:pt x="80" y="238"/>
                </a:cubicBezTo>
                <a:cubicBezTo>
                  <a:pt x="80" y="273"/>
                  <a:pt x="108" y="301"/>
                  <a:pt x="142" y="301"/>
                </a:cubicBezTo>
                <a:cubicBezTo>
                  <a:pt x="176" y="301"/>
                  <a:pt x="204" y="273"/>
                  <a:pt x="204" y="238"/>
                </a:cubicBezTo>
                <a:cubicBezTo>
                  <a:pt x="204" y="204"/>
                  <a:pt x="176" y="176"/>
                  <a:pt x="142" y="176"/>
                </a:cubicBezTo>
                <a:close/>
                <a:moveTo>
                  <a:pt x="142" y="278"/>
                </a:moveTo>
                <a:cubicBezTo>
                  <a:pt x="120" y="278"/>
                  <a:pt x="102" y="260"/>
                  <a:pt x="102" y="238"/>
                </a:cubicBezTo>
                <a:cubicBezTo>
                  <a:pt x="102" y="217"/>
                  <a:pt x="120" y="199"/>
                  <a:pt x="142" y="199"/>
                </a:cubicBezTo>
                <a:cubicBezTo>
                  <a:pt x="164" y="199"/>
                  <a:pt x="182" y="217"/>
                  <a:pt x="182" y="238"/>
                </a:cubicBezTo>
                <a:cubicBezTo>
                  <a:pt x="182" y="260"/>
                  <a:pt x="164" y="278"/>
                  <a:pt x="142" y="278"/>
                </a:cubicBezTo>
                <a:close/>
                <a:moveTo>
                  <a:pt x="572" y="89"/>
                </a:moveTo>
                <a:cubicBezTo>
                  <a:pt x="568" y="88"/>
                  <a:pt x="557" y="81"/>
                  <a:pt x="543" y="73"/>
                </a:cubicBezTo>
                <a:cubicBezTo>
                  <a:pt x="512" y="55"/>
                  <a:pt x="466" y="28"/>
                  <a:pt x="415" y="17"/>
                </a:cubicBezTo>
                <a:cubicBezTo>
                  <a:pt x="332" y="0"/>
                  <a:pt x="260" y="23"/>
                  <a:pt x="176" y="50"/>
                </a:cubicBezTo>
                <a:cubicBezTo>
                  <a:pt x="133" y="64"/>
                  <a:pt x="89" y="78"/>
                  <a:pt x="39" y="88"/>
                </a:cubicBezTo>
                <a:cubicBezTo>
                  <a:pt x="37" y="88"/>
                  <a:pt x="36" y="89"/>
                  <a:pt x="35" y="90"/>
                </a:cubicBezTo>
                <a:cubicBezTo>
                  <a:pt x="34" y="93"/>
                  <a:pt x="0" y="146"/>
                  <a:pt x="0" y="250"/>
                </a:cubicBezTo>
                <a:cubicBezTo>
                  <a:pt x="0" y="253"/>
                  <a:pt x="3" y="256"/>
                  <a:pt x="6" y="256"/>
                </a:cubicBezTo>
                <a:cubicBezTo>
                  <a:pt x="71" y="256"/>
                  <a:pt x="71" y="256"/>
                  <a:pt x="71" y="256"/>
                </a:cubicBezTo>
                <a:cubicBezTo>
                  <a:pt x="69" y="251"/>
                  <a:pt x="68" y="245"/>
                  <a:pt x="68" y="238"/>
                </a:cubicBezTo>
                <a:cubicBezTo>
                  <a:pt x="68" y="198"/>
                  <a:pt x="101" y="165"/>
                  <a:pt x="142" y="165"/>
                </a:cubicBezTo>
                <a:cubicBezTo>
                  <a:pt x="183" y="165"/>
                  <a:pt x="216" y="198"/>
                  <a:pt x="216" y="238"/>
                </a:cubicBezTo>
                <a:cubicBezTo>
                  <a:pt x="216" y="245"/>
                  <a:pt x="215" y="251"/>
                  <a:pt x="213" y="257"/>
                </a:cubicBezTo>
                <a:cubicBezTo>
                  <a:pt x="582" y="260"/>
                  <a:pt x="582" y="260"/>
                  <a:pt x="582" y="260"/>
                </a:cubicBezTo>
                <a:cubicBezTo>
                  <a:pt x="580" y="253"/>
                  <a:pt x="579" y="246"/>
                  <a:pt x="579" y="238"/>
                </a:cubicBezTo>
                <a:cubicBezTo>
                  <a:pt x="579" y="198"/>
                  <a:pt x="612" y="165"/>
                  <a:pt x="652" y="165"/>
                </a:cubicBezTo>
                <a:cubicBezTo>
                  <a:pt x="693" y="165"/>
                  <a:pt x="726" y="198"/>
                  <a:pt x="726" y="238"/>
                </a:cubicBezTo>
                <a:cubicBezTo>
                  <a:pt x="726" y="246"/>
                  <a:pt x="725" y="254"/>
                  <a:pt x="723" y="261"/>
                </a:cubicBezTo>
                <a:cubicBezTo>
                  <a:pt x="777" y="261"/>
                  <a:pt x="777" y="261"/>
                  <a:pt x="777" y="261"/>
                </a:cubicBezTo>
                <a:cubicBezTo>
                  <a:pt x="777" y="261"/>
                  <a:pt x="777" y="261"/>
                  <a:pt x="777" y="261"/>
                </a:cubicBezTo>
                <a:cubicBezTo>
                  <a:pt x="778" y="261"/>
                  <a:pt x="780" y="261"/>
                  <a:pt x="781" y="259"/>
                </a:cubicBezTo>
                <a:cubicBezTo>
                  <a:pt x="782" y="258"/>
                  <a:pt x="783" y="257"/>
                  <a:pt x="783" y="255"/>
                </a:cubicBezTo>
                <a:cubicBezTo>
                  <a:pt x="783" y="147"/>
                  <a:pt x="766" y="122"/>
                  <a:pt x="572" y="89"/>
                </a:cubicBezTo>
                <a:close/>
                <a:moveTo>
                  <a:pt x="505" y="108"/>
                </a:moveTo>
                <a:cubicBezTo>
                  <a:pt x="459" y="119"/>
                  <a:pt x="165" y="88"/>
                  <a:pt x="165" y="88"/>
                </a:cubicBezTo>
                <a:cubicBezTo>
                  <a:pt x="165" y="88"/>
                  <a:pt x="279" y="29"/>
                  <a:pt x="369" y="29"/>
                </a:cubicBezTo>
                <a:cubicBezTo>
                  <a:pt x="449" y="29"/>
                  <a:pt x="546" y="98"/>
                  <a:pt x="505" y="1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nvGrpSpPr>
          <p:cNvPr id="14" name="easyIcon">
            <a:extLst>
              <a:ext uri="{FF2B5EF4-FFF2-40B4-BE49-F238E27FC236}">
                <a16:creationId xmlns:a16="http://schemas.microsoft.com/office/drawing/2014/main" id="{12D34B61-BF37-4BEC-0592-5EBD40B6169B}"/>
              </a:ext>
            </a:extLst>
          </p:cNvPr>
          <p:cNvGrpSpPr>
            <a:grpSpLocks noChangeAspect="1"/>
          </p:cNvGrpSpPr>
          <p:nvPr>
            <p:custDataLst>
              <p:tags r:id="rId1"/>
            </p:custDataLst>
          </p:nvPr>
        </p:nvGrpSpPr>
        <p:grpSpPr>
          <a:xfrm>
            <a:off x="3503460" y="-432321"/>
            <a:ext cx="4525036" cy="4525036"/>
            <a:chOff x="264263" y="4620411"/>
            <a:chExt cx="1524000" cy="1524000"/>
          </a:xfrm>
        </p:grpSpPr>
        <p:sp>
          <p:nvSpPr>
            <p:cNvPr id="18" name="backgroundFixed">
              <a:extLst>
                <a:ext uri="{FF2B5EF4-FFF2-40B4-BE49-F238E27FC236}">
                  <a16:creationId xmlns:a16="http://schemas.microsoft.com/office/drawing/2014/main" id="{9B0055B3-D934-8A7E-C67E-DAAE2FA52A07}"/>
                </a:ext>
              </a:extLst>
            </p:cNvPr>
            <p:cNvSpPr/>
            <p:nvPr>
              <p:custDataLst>
                <p:tags r:id="rId8"/>
              </p:custDataLst>
            </p:nvPr>
          </p:nvSpPr>
          <p:spPr>
            <a:xfrm>
              <a:off x="264263" y="4620411"/>
              <a:ext cx="1524000" cy="152400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19" name="Vector">
              <a:extLst>
                <a:ext uri="{FF2B5EF4-FFF2-40B4-BE49-F238E27FC236}">
                  <a16:creationId xmlns:a16="http://schemas.microsoft.com/office/drawing/2014/main" id="{E8445362-1A74-F544-F100-B6F2CB04CD2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bwMode="gray">
            <a:xfrm>
              <a:off x="264263" y="4620411"/>
              <a:ext cx="1524000" cy="1524000"/>
            </a:xfrm>
            <a:prstGeom prst="rect">
              <a:avLst/>
            </a:prstGeom>
          </p:spPr>
        </p:pic>
      </p:grpSp>
      <p:grpSp>
        <p:nvGrpSpPr>
          <p:cNvPr id="13" name="easyIcon">
            <a:extLst>
              <a:ext uri="{FF2B5EF4-FFF2-40B4-BE49-F238E27FC236}">
                <a16:creationId xmlns:a16="http://schemas.microsoft.com/office/drawing/2014/main" id="{4A730E1D-7170-4A6C-A86A-DB8CF14590AE}"/>
              </a:ext>
            </a:extLst>
          </p:cNvPr>
          <p:cNvGrpSpPr>
            <a:grpSpLocks noChangeAspect="1"/>
          </p:cNvGrpSpPr>
          <p:nvPr>
            <p:custDataLst>
              <p:tags r:id="rId2"/>
            </p:custDataLst>
          </p:nvPr>
        </p:nvGrpSpPr>
        <p:grpSpPr>
          <a:xfrm>
            <a:off x="7060255" y="848900"/>
            <a:ext cx="2108602" cy="1974358"/>
            <a:chOff x="5071472" y="1303000"/>
            <a:chExt cx="878916" cy="822960"/>
          </a:xfrm>
        </p:grpSpPr>
        <p:sp>
          <p:nvSpPr>
            <p:cNvPr id="16" name="backgroundFixed">
              <a:extLst>
                <a:ext uri="{FF2B5EF4-FFF2-40B4-BE49-F238E27FC236}">
                  <a16:creationId xmlns:a16="http://schemas.microsoft.com/office/drawing/2014/main" id="{8025B517-F3EC-CF0D-1A0D-436575939A20}"/>
                </a:ext>
              </a:extLst>
            </p:cNvPr>
            <p:cNvSpPr/>
            <p:nvPr>
              <p:custDataLst>
                <p:tags r:id="rId7"/>
              </p:custDataLst>
            </p:nvPr>
          </p:nvSpPr>
          <p:spPr>
            <a:xfrm>
              <a:off x="5127428" y="1303000"/>
              <a:ext cx="822960" cy="82296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endParaRPr lang="en-US" sz="1400" b="1" dirty="0">
                <a:solidFill>
                  <a:schemeClr val="bg1"/>
                </a:solidFill>
              </a:endParaRPr>
            </a:p>
          </p:txBody>
        </p:sp>
        <p:pic>
          <p:nvPicPr>
            <p:cNvPr id="21" name="Vector">
              <a:extLst>
                <a:ext uri="{FF2B5EF4-FFF2-40B4-BE49-F238E27FC236}">
                  <a16:creationId xmlns:a16="http://schemas.microsoft.com/office/drawing/2014/main" id="{D04A7EB1-5478-C023-184B-DFEB2E3FC1E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bwMode="gray">
            <a:xfrm>
              <a:off x="5071472" y="1303000"/>
              <a:ext cx="822960" cy="822960"/>
            </a:xfrm>
            <a:prstGeom prst="rect">
              <a:avLst/>
            </a:prstGeom>
          </p:spPr>
        </p:pic>
      </p:grpSp>
      <p:sp>
        <p:nvSpPr>
          <p:cNvPr id="27" name="TextBox 26">
            <a:extLst>
              <a:ext uri="{FF2B5EF4-FFF2-40B4-BE49-F238E27FC236}">
                <a16:creationId xmlns:a16="http://schemas.microsoft.com/office/drawing/2014/main" id="{A30E7664-2D34-61A4-811A-F553E9638322}"/>
              </a:ext>
            </a:extLst>
          </p:cNvPr>
          <p:cNvSpPr txBox="1"/>
          <p:nvPr/>
        </p:nvSpPr>
        <p:spPr>
          <a:xfrm>
            <a:off x="4914804" y="2283959"/>
            <a:ext cx="1723118" cy="335413"/>
          </a:xfrm>
          <a:prstGeom prst="rect">
            <a:avLst/>
          </a:prstGeom>
          <a:noFill/>
        </p:spPr>
        <p:txBody>
          <a:bodyPr wrap="square" lIns="0" tIns="0" rIns="0" bIns="0" rtlCol="0">
            <a:spAutoFit/>
          </a:bodyPr>
          <a:lstStyle/>
          <a:p>
            <a:pPr algn="l">
              <a:lnSpc>
                <a:spcPct val="120000"/>
              </a:lnSpc>
              <a:spcBef>
                <a:spcPts val="800"/>
              </a:spcBef>
            </a:pPr>
            <a:r>
              <a:rPr lang="en-US" sz="2000" dirty="0"/>
              <a:t>Backend APIs</a:t>
            </a:r>
          </a:p>
        </p:txBody>
      </p:sp>
      <p:sp>
        <p:nvSpPr>
          <p:cNvPr id="28" name="TextBox 27">
            <a:extLst>
              <a:ext uri="{FF2B5EF4-FFF2-40B4-BE49-F238E27FC236}">
                <a16:creationId xmlns:a16="http://schemas.microsoft.com/office/drawing/2014/main" id="{D5776070-9E89-C9F8-0F39-B6786C64E073}"/>
              </a:ext>
            </a:extLst>
          </p:cNvPr>
          <p:cNvSpPr txBox="1"/>
          <p:nvPr/>
        </p:nvSpPr>
        <p:spPr>
          <a:xfrm>
            <a:off x="8578890" y="4939428"/>
            <a:ext cx="1723118" cy="335413"/>
          </a:xfrm>
          <a:prstGeom prst="rect">
            <a:avLst/>
          </a:prstGeom>
          <a:noFill/>
        </p:spPr>
        <p:txBody>
          <a:bodyPr wrap="square" lIns="0" tIns="0" rIns="0" bIns="0" rtlCol="0">
            <a:spAutoFit/>
          </a:bodyPr>
          <a:lstStyle/>
          <a:p>
            <a:pPr algn="l">
              <a:lnSpc>
                <a:spcPct val="120000"/>
              </a:lnSpc>
              <a:spcBef>
                <a:spcPts val="800"/>
              </a:spcBef>
            </a:pPr>
            <a:r>
              <a:rPr lang="en-US" sz="2000" dirty="0"/>
              <a:t>Mobile App</a:t>
            </a:r>
          </a:p>
        </p:txBody>
      </p:sp>
      <p:sp>
        <p:nvSpPr>
          <p:cNvPr id="29" name="TextBox 28">
            <a:extLst>
              <a:ext uri="{FF2B5EF4-FFF2-40B4-BE49-F238E27FC236}">
                <a16:creationId xmlns:a16="http://schemas.microsoft.com/office/drawing/2014/main" id="{0A89E617-B41E-5A09-D67D-BBA98D484A0D}"/>
              </a:ext>
            </a:extLst>
          </p:cNvPr>
          <p:cNvSpPr txBox="1"/>
          <p:nvPr/>
        </p:nvSpPr>
        <p:spPr>
          <a:xfrm>
            <a:off x="1726311" y="4939428"/>
            <a:ext cx="1723118" cy="335413"/>
          </a:xfrm>
          <a:prstGeom prst="rect">
            <a:avLst/>
          </a:prstGeom>
          <a:noFill/>
        </p:spPr>
        <p:txBody>
          <a:bodyPr wrap="square" lIns="0" tIns="0" rIns="0" bIns="0" rtlCol="0">
            <a:spAutoFit/>
          </a:bodyPr>
          <a:lstStyle/>
          <a:p>
            <a:pPr algn="l">
              <a:lnSpc>
                <a:spcPct val="120000"/>
              </a:lnSpc>
              <a:spcBef>
                <a:spcPts val="800"/>
              </a:spcBef>
            </a:pPr>
            <a:r>
              <a:rPr lang="en-US" sz="2000" dirty="0"/>
              <a:t>Vehicle</a:t>
            </a:r>
          </a:p>
        </p:txBody>
      </p:sp>
      <p:sp>
        <p:nvSpPr>
          <p:cNvPr id="30" name="TextBox 29">
            <a:extLst>
              <a:ext uri="{FF2B5EF4-FFF2-40B4-BE49-F238E27FC236}">
                <a16:creationId xmlns:a16="http://schemas.microsoft.com/office/drawing/2014/main" id="{707144E9-D053-BC47-84D1-3D68A6001919}"/>
              </a:ext>
            </a:extLst>
          </p:cNvPr>
          <p:cNvSpPr txBox="1"/>
          <p:nvPr/>
        </p:nvSpPr>
        <p:spPr>
          <a:xfrm>
            <a:off x="10141876" y="2313136"/>
            <a:ext cx="1723118" cy="335413"/>
          </a:xfrm>
          <a:prstGeom prst="rect">
            <a:avLst/>
          </a:prstGeom>
          <a:noFill/>
        </p:spPr>
        <p:txBody>
          <a:bodyPr wrap="square" lIns="0" tIns="0" rIns="0" bIns="0" rtlCol="0">
            <a:spAutoFit/>
          </a:bodyPr>
          <a:lstStyle/>
          <a:p>
            <a:pPr algn="l">
              <a:lnSpc>
                <a:spcPct val="120000"/>
              </a:lnSpc>
              <a:spcBef>
                <a:spcPts val="800"/>
              </a:spcBef>
            </a:pPr>
            <a:r>
              <a:rPr lang="en-US" sz="2000" dirty="0"/>
              <a:t>Dealer</a:t>
            </a:r>
          </a:p>
        </p:txBody>
      </p:sp>
      <p:cxnSp>
        <p:nvCxnSpPr>
          <p:cNvPr id="31" name="Straight Arrow Connector 30">
            <a:extLst>
              <a:ext uri="{FF2B5EF4-FFF2-40B4-BE49-F238E27FC236}">
                <a16:creationId xmlns:a16="http://schemas.microsoft.com/office/drawing/2014/main" id="{0538B0CA-3EBB-ABD6-04AC-1D7C472BEB13}"/>
              </a:ext>
            </a:extLst>
          </p:cNvPr>
          <p:cNvCxnSpPr>
            <a:cxnSpLocks/>
          </p:cNvCxnSpPr>
          <p:nvPr/>
        </p:nvCxnSpPr>
        <p:spPr>
          <a:xfrm flipH="1">
            <a:off x="8726139" y="1792578"/>
            <a:ext cx="1104358"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8E9C3C7C-66F3-3B94-442F-614FC22CD436}"/>
              </a:ext>
            </a:extLst>
          </p:cNvPr>
          <p:cNvSpPr txBox="1"/>
          <p:nvPr/>
        </p:nvSpPr>
        <p:spPr>
          <a:xfrm>
            <a:off x="7150193" y="898045"/>
            <a:ext cx="2117528" cy="335413"/>
          </a:xfrm>
          <a:prstGeom prst="rect">
            <a:avLst/>
          </a:prstGeom>
          <a:noFill/>
        </p:spPr>
        <p:txBody>
          <a:bodyPr wrap="square" lIns="0" tIns="0" rIns="0" bIns="0" rtlCol="0">
            <a:spAutoFit/>
          </a:bodyPr>
          <a:lstStyle/>
          <a:p>
            <a:pPr algn="l">
              <a:lnSpc>
                <a:spcPct val="120000"/>
              </a:lnSpc>
              <a:spcBef>
                <a:spcPts val="800"/>
              </a:spcBef>
            </a:pPr>
            <a:r>
              <a:rPr lang="en-US" sz="2000" dirty="0"/>
              <a:t>Dealer Web Portal</a:t>
            </a:r>
          </a:p>
        </p:txBody>
      </p:sp>
      <p:grpSp>
        <p:nvGrpSpPr>
          <p:cNvPr id="46" name="Group 45">
            <a:extLst>
              <a:ext uri="{FF2B5EF4-FFF2-40B4-BE49-F238E27FC236}">
                <a16:creationId xmlns:a16="http://schemas.microsoft.com/office/drawing/2014/main" id="{A3DFFB7B-4C35-39F2-25AE-F8A85D9C4BEA}"/>
              </a:ext>
            </a:extLst>
          </p:cNvPr>
          <p:cNvGrpSpPr/>
          <p:nvPr/>
        </p:nvGrpSpPr>
        <p:grpSpPr>
          <a:xfrm>
            <a:off x="9926790" y="794914"/>
            <a:ext cx="1179689" cy="1736618"/>
            <a:chOff x="9866500" y="792654"/>
            <a:chExt cx="1179689" cy="1736618"/>
          </a:xfrm>
        </p:grpSpPr>
        <p:grpSp>
          <p:nvGrpSpPr>
            <p:cNvPr id="40" name="easyIcon">
              <a:extLst>
                <a:ext uri="{FF2B5EF4-FFF2-40B4-BE49-F238E27FC236}">
                  <a16:creationId xmlns:a16="http://schemas.microsoft.com/office/drawing/2014/main" id="{FDF63CBD-14A6-DA9E-1D94-BEC874E7360E}"/>
                </a:ext>
              </a:extLst>
            </p:cNvPr>
            <p:cNvGrpSpPr>
              <a:grpSpLocks noChangeAspect="1"/>
            </p:cNvGrpSpPr>
            <p:nvPr>
              <p:custDataLst>
                <p:tags r:id="rId3"/>
              </p:custDataLst>
            </p:nvPr>
          </p:nvGrpSpPr>
          <p:grpSpPr>
            <a:xfrm>
              <a:off x="9893748" y="1376831"/>
              <a:ext cx="1152441" cy="1152441"/>
              <a:chOff x="3791869" y="2158867"/>
              <a:chExt cx="721099" cy="721099"/>
            </a:xfrm>
          </p:grpSpPr>
          <p:sp>
            <p:nvSpPr>
              <p:cNvPr id="41" name="backgroundFixed">
                <a:extLst>
                  <a:ext uri="{FF2B5EF4-FFF2-40B4-BE49-F238E27FC236}">
                    <a16:creationId xmlns:a16="http://schemas.microsoft.com/office/drawing/2014/main" id="{42492D1C-D1EB-17E9-4A30-750DBE710754}"/>
                  </a:ext>
                </a:extLst>
              </p:cNvPr>
              <p:cNvSpPr/>
              <p:nvPr>
                <p:custDataLst>
                  <p:tags r:id="rId6"/>
                </p:custDataLst>
              </p:nvPr>
            </p:nvSpPr>
            <p:spPr>
              <a:xfrm>
                <a:off x="3791869" y="2158867"/>
                <a:ext cx="721099" cy="721099"/>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42" name="Vector">
                <a:extLst>
                  <a:ext uri="{FF2B5EF4-FFF2-40B4-BE49-F238E27FC236}">
                    <a16:creationId xmlns:a16="http://schemas.microsoft.com/office/drawing/2014/main" id="{E50F1360-DBB5-E624-F251-D553E99D3E7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bwMode="gray">
              <a:xfrm>
                <a:off x="3791869" y="2158867"/>
                <a:ext cx="721099" cy="721099"/>
              </a:xfrm>
              <a:prstGeom prst="rect">
                <a:avLst/>
              </a:prstGeom>
            </p:spPr>
          </p:pic>
        </p:grpSp>
        <p:grpSp>
          <p:nvGrpSpPr>
            <p:cNvPr id="43" name="easyIcon">
              <a:extLst>
                <a:ext uri="{FF2B5EF4-FFF2-40B4-BE49-F238E27FC236}">
                  <a16:creationId xmlns:a16="http://schemas.microsoft.com/office/drawing/2014/main" id="{C59857A4-FD58-8915-73F1-19A6B180AFEB}"/>
                </a:ext>
              </a:extLst>
            </p:cNvPr>
            <p:cNvGrpSpPr>
              <a:grpSpLocks noChangeAspect="1"/>
            </p:cNvGrpSpPr>
            <p:nvPr>
              <p:custDataLst>
                <p:tags r:id="rId4"/>
              </p:custDataLst>
            </p:nvPr>
          </p:nvGrpSpPr>
          <p:grpSpPr>
            <a:xfrm>
              <a:off x="9866500" y="792654"/>
              <a:ext cx="1152441" cy="1152441"/>
              <a:chOff x="575668" y="1150755"/>
              <a:chExt cx="721100" cy="721100"/>
            </a:xfrm>
          </p:grpSpPr>
          <p:sp>
            <p:nvSpPr>
              <p:cNvPr id="44" name="backgroundFixed">
                <a:extLst>
                  <a:ext uri="{FF2B5EF4-FFF2-40B4-BE49-F238E27FC236}">
                    <a16:creationId xmlns:a16="http://schemas.microsoft.com/office/drawing/2014/main" id="{72CE2747-11A5-5EAB-C0BE-1D55D85FA99C}"/>
                  </a:ext>
                </a:extLst>
              </p:cNvPr>
              <p:cNvSpPr/>
              <p:nvPr>
                <p:custDataLst>
                  <p:tags r:id="rId5"/>
                </p:custDataLst>
              </p:nvPr>
            </p:nvSpPr>
            <p:spPr>
              <a:xfrm>
                <a:off x="575668" y="1150755"/>
                <a:ext cx="721100" cy="72110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45" name="Vector">
                <a:extLst>
                  <a:ext uri="{FF2B5EF4-FFF2-40B4-BE49-F238E27FC236}">
                    <a16:creationId xmlns:a16="http://schemas.microsoft.com/office/drawing/2014/main" id="{0E090E2B-FA55-E9A4-0EFD-F4548B44A22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bwMode="gray">
              <a:xfrm>
                <a:off x="575668" y="1150755"/>
                <a:ext cx="721100" cy="721100"/>
              </a:xfrm>
              <a:prstGeom prst="rect">
                <a:avLst/>
              </a:prstGeom>
            </p:spPr>
          </p:pic>
        </p:grpSp>
      </p:grpSp>
      <p:sp>
        <p:nvSpPr>
          <p:cNvPr id="47" name="Oval 46">
            <a:extLst>
              <a:ext uri="{FF2B5EF4-FFF2-40B4-BE49-F238E27FC236}">
                <a16:creationId xmlns:a16="http://schemas.microsoft.com/office/drawing/2014/main" id="{03D5E3FE-787A-DEAD-6AF0-BF4AE615E648}"/>
              </a:ext>
            </a:extLst>
          </p:cNvPr>
          <p:cNvSpPr/>
          <p:nvPr/>
        </p:nvSpPr>
        <p:spPr>
          <a:xfrm>
            <a:off x="4399793" y="1988682"/>
            <a:ext cx="2651683" cy="982859"/>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48" name="Oval 47">
            <a:extLst>
              <a:ext uri="{FF2B5EF4-FFF2-40B4-BE49-F238E27FC236}">
                <a16:creationId xmlns:a16="http://schemas.microsoft.com/office/drawing/2014/main" id="{FCF50943-1753-E098-C559-B3178D58E3A8}"/>
              </a:ext>
            </a:extLst>
          </p:cNvPr>
          <p:cNvSpPr/>
          <p:nvPr/>
        </p:nvSpPr>
        <p:spPr>
          <a:xfrm>
            <a:off x="6798947" y="540704"/>
            <a:ext cx="2651683" cy="982859"/>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grpSp>
        <p:nvGrpSpPr>
          <p:cNvPr id="49" name="Group 48">
            <a:extLst>
              <a:ext uri="{FF2B5EF4-FFF2-40B4-BE49-F238E27FC236}">
                <a16:creationId xmlns:a16="http://schemas.microsoft.com/office/drawing/2014/main" id="{58B2D69B-33BA-440C-A7D3-1381F8DC25CE}"/>
              </a:ext>
            </a:extLst>
          </p:cNvPr>
          <p:cNvGrpSpPr/>
          <p:nvPr/>
        </p:nvGrpSpPr>
        <p:grpSpPr>
          <a:xfrm>
            <a:off x="8803931" y="3317931"/>
            <a:ext cx="835083" cy="1550870"/>
            <a:chOff x="8803931" y="3317931"/>
            <a:chExt cx="835083" cy="1550870"/>
          </a:xfrm>
        </p:grpSpPr>
        <p:sp>
          <p:nvSpPr>
            <p:cNvPr id="50" name="Freeform: Shape 49">
              <a:extLst>
                <a:ext uri="{FF2B5EF4-FFF2-40B4-BE49-F238E27FC236}">
                  <a16:creationId xmlns:a16="http://schemas.microsoft.com/office/drawing/2014/main" id="{B9D1F025-08A3-2435-5366-A98AFA47AAA3}"/>
                </a:ext>
              </a:extLst>
            </p:cNvPr>
            <p:cNvSpPr/>
            <p:nvPr/>
          </p:nvSpPr>
          <p:spPr>
            <a:xfrm>
              <a:off x="8803931" y="3317931"/>
              <a:ext cx="835083" cy="1550870"/>
            </a:xfrm>
            <a:custGeom>
              <a:avLst/>
              <a:gdLst>
                <a:gd name="connsiteX0" fmla="*/ 715786 w 835083"/>
                <a:gd name="connsiteY0" fmla="*/ 0 h 1550870"/>
                <a:gd name="connsiteX1" fmla="*/ 119298 w 835083"/>
                <a:gd name="connsiteY1" fmla="*/ 0 h 1550870"/>
                <a:gd name="connsiteX2" fmla="*/ 0 w 835083"/>
                <a:gd name="connsiteY2" fmla="*/ 119298 h 1550870"/>
                <a:gd name="connsiteX3" fmla="*/ 0 w 835083"/>
                <a:gd name="connsiteY3" fmla="*/ 1431572 h 1550870"/>
                <a:gd name="connsiteX4" fmla="*/ 119298 w 835083"/>
                <a:gd name="connsiteY4" fmla="*/ 1550870 h 1550870"/>
                <a:gd name="connsiteX5" fmla="*/ 715786 w 835083"/>
                <a:gd name="connsiteY5" fmla="*/ 1550870 h 1550870"/>
                <a:gd name="connsiteX6" fmla="*/ 835084 w 835083"/>
                <a:gd name="connsiteY6" fmla="*/ 1431572 h 1550870"/>
                <a:gd name="connsiteX7" fmla="*/ 835084 w 835083"/>
                <a:gd name="connsiteY7" fmla="*/ 119298 h 1550870"/>
                <a:gd name="connsiteX8" fmla="*/ 715786 w 835083"/>
                <a:gd name="connsiteY8" fmla="*/ 0 h 1550870"/>
                <a:gd name="connsiteX9" fmla="*/ 775435 w 835083"/>
                <a:gd name="connsiteY9" fmla="*/ 1431572 h 1550870"/>
                <a:gd name="connsiteX10" fmla="*/ 715786 w 835083"/>
                <a:gd name="connsiteY10" fmla="*/ 1491221 h 1550870"/>
                <a:gd name="connsiteX11" fmla="*/ 119298 w 835083"/>
                <a:gd name="connsiteY11" fmla="*/ 1491221 h 1550870"/>
                <a:gd name="connsiteX12" fmla="*/ 59649 w 835083"/>
                <a:gd name="connsiteY12" fmla="*/ 1431572 h 1550870"/>
                <a:gd name="connsiteX13" fmla="*/ 59649 w 835083"/>
                <a:gd name="connsiteY13" fmla="*/ 119298 h 1550870"/>
                <a:gd name="connsiteX14" fmla="*/ 119298 w 835083"/>
                <a:gd name="connsiteY14" fmla="*/ 59649 h 1550870"/>
                <a:gd name="connsiteX15" fmla="*/ 715786 w 835083"/>
                <a:gd name="connsiteY15" fmla="*/ 59649 h 1550870"/>
                <a:gd name="connsiteX16" fmla="*/ 775435 w 835083"/>
                <a:gd name="connsiteY16" fmla="*/ 119298 h 1550870"/>
                <a:gd name="connsiteX17" fmla="*/ 775435 w 835083"/>
                <a:gd name="connsiteY17" fmla="*/ 1431572 h 1550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35083" h="1550870">
                  <a:moveTo>
                    <a:pt x="715786" y="0"/>
                  </a:moveTo>
                  <a:lnTo>
                    <a:pt x="119298" y="0"/>
                  </a:lnTo>
                  <a:cubicBezTo>
                    <a:pt x="53684" y="0"/>
                    <a:pt x="0" y="53684"/>
                    <a:pt x="0" y="119298"/>
                  </a:cubicBezTo>
                  <a:lnTo>
                    <a:pt x="0" y="1431572"/>
                  </a:lnTo>
                  <a:cubicBezTo>
                    <a:pt x="0" y="1497186"/>
                    <a:pt x="53684" y="1550870"/>
                    <a:pt x="119298" y="1550870"/>
                  </a:cubicBezTo>
                  <a:lnTo>
                    <a:pt x="715786" y="1550870"/>
                  </a:lnTo>
                  <a:cubicBezTo>
                    <a:pt x="781400" y="1550870"/>
                    <a:pt x="835084" y="1497186"/>
                    <a:pt x="835084" y="1431572"/>
                  </a:cubicBezTo>
                  <a:lnTo>
                    <a:pt x="835084" y="119298"/>
                  </a:lnTo>
                  <a:cubicBezTo>
                    <a:pt x="835084" y="53684"/>
                    <a:pt x="781400" y="0"/>
                    <a:pt x="715786" y="0"/>
                  </a:cubicBezTo>
                  <a:close/>
                  <a:moveTo>
                    <a:pt x="775435" y="1431572"/>
                  </a:moveTo>
                  <a:cubicBezTo>
                    <a:pt x="775435" y="1464379"/>
                    <a:pt x="748593" y="1491221"/>
                    <a:pt x="715786" y="1491221"/>
                  </a:cubicBezTo>
                  <a:lnTo>
                    <a:pt x="119298" y="1491221"/>
                  </a:lnTo>
                  <a:cubicBezTo>
                    <a:pt x="86491" y="1491221"/>
                    <a:pt x="59649" y="1464379"/>
                    <a:pt x="59649" y="1431572"/>
                  </a:cubicBezTo>
                  <a:lnTo>
                    <a:pt x="59649" y="119298"/>
                  </a:lnTo>
                  <a:cubicBezTo>
                    <a:pt x="59649" y="86491"/>
                    <a:pt x="86491" y="59649"/>
                    <a:pt x="119298" y="59649"/>
                  </a:cubicBezTo>
                  <a:lnTo>
                    <a:pt x="715786" y="59649"/>
                  </a:lnTo>
                  <a:cubicBezTo>
                    <a:pt x="748593" y="59649"/>
                    <a:pt x="775435" y="86491"/>
                    <a:pt x="775435" y="119298"/>
                  </a:cubicBezTo>
                  <a:lnTo>
                    <a:pt x="775435" y="1431572"/>
                  </a:lnTo>
                  <a:close/>
                </a:path>
              </a:pathLst>
            </a:custGeom>
            <a:solidFill>
              <a:srgbClr val="52C9FF"/>
            </a:solidFill>
            <a:ln w="14883"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89169E93-6ADE-7F0C-297E-885867AAEB4F}"/>
                </a:ext>
              </a:extLst>
            </p:cNvPr>
            <p:cNvSpPr/>
            <p:nvPr/>
          </p:nvSpPr>
          <p:spPr>
            <a:xfrm>
              <a:off x="9161824" y="4630206"/>
              <a:ext cx="119297" cy="119297"/>
            </a:xfrm>
            <a:custGeom>
              <a:avLst/>
              <a:gdLst>
                <a:gd name="connsiteX0" fmla="*/ 119298 w 119297"/>
                <a:gd name="connsiteY0" fmla="*/ 59649 h 119297"/>
                <a:gd name="connsiteX1" fmla="*/ 59649 w 119297"/>
                <a:gd name="connsiteY1" fmla="*/ 119298 h 119297"/>
                <a:gd name="connsiteX2" fmla="*/ 0 w 119297"/>
                <a:gd name="connsiteY2" fmla="*/ 59649 h 119297"/>
                <a:gd name="connsiteX3" fmla="*/ 59649 w 119297"/>
                <a:gd name="connsiteY3" fmla="*/ 0 h 119297"/>
                <a:gd name="connsiteX4" fmla="*/ 119298 w 119297"/>
                <a:gd name="connsiteY4" fmla="*/ 59649 h 119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297" h="119297">
                  <a:moveTo>
                    <a:pt x="119298" y="59649"/>
                  </a:moveTo>
                  <a:cubicBezTo>
                    <a:pt x="119298" y="92592"/>
                    <a:pt x="92592" y="119298"/>
                    <a:pt x="59649" y="119298"/>
                  </a:cubicBezTo>
                  <a:cubicBezTo>
                    <a:pt x="26706" y="119298"/>
                    <a:pt x="0" y="92592"/>
                    <a:pt x="0" y="59649"/>
                  </a:cubicBezTo>
                  <a:cubicBezTo>
                    <a:pt x="0" y="26706"/>
                    <a:pt x="26706" y="0"/>
                    <a:pt x="59649" y="0"/>
                  </a:cubicBezTo>
                  <a:cubicBezTo>
                    <a:pt x="92592" y="0"/>
                    <a:pt x="119298" y="26706"/>
                    <a:pt x="119298" y="59649"/>
                  </a:cubicBezTo>
                  <a:close/>
                </a:path>
              </a:pathLst>
            </a:custGeom>
            <a:solidFill>
              <a:srgbClr val="52C9FF"/>
            </a:solidFill>
            <a:ln w="14883"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249D0A30-E8BC-79C5-7B97-6F198FDB39D8}"/>
                </a:ext>
              </a:extLst>
            </p:cNvPr>
            <p:cNvSpPr/>
            <p:nvPr/>
          </p:nvSpPr>
          <p:spPr>
            <a:xfrm>
              <a:off x="8982877" y="4048629"/>
              <a:ext cx="477190" cy="29824"/>
            </a:xfrm>
            <a:custGeom>
              <a:avLst/>
              <a:gdLst>
                <a:gd name="connsiteX0" fmla="*/ 0 w 477190"/>
                <a:gd name="connsiteY0" fmla="*/ 0 h 29824"/>
                <a:gd name="connsiteX1" fmla="*/ 477191 w 477190"/>
                <a:gd name="connsiteY1" fmla="*/ 0 h 29824"/>
                <a:gd name="connsiteX2" fmla="*/ 477191 w 477190"/>
                <a:gd name="connsiteY2" fmla="*/ 29824 h 29824"/>
                <a:gd name="connsiteX3" fmla="*/ 0 w 477190"/>
                <a:gd name="connsiteY3" fmla="*/ 29824 h 29824"/>
              </a:gdLst>
              <a:ahLst/>
              <a:cxnLst>
                <a:cxn ang="0">
                  <a:pos x="connsiteX0" y="connsiteY0"/>
                </a:cxn>
                <a:cxn ang="0">
                  <a:pos x="connsiteX1" y="connsiteY1"/>
                </a:cxn>
                <a:cxn ang="0">
                  <a:pos x="connsiteX2" y="connsiteY2"/>
                </a:cxn>
                <a:cxn ang="0">
                  <a:pos x="connsiteX3" y="connsiteY3"/>
                </a:cxn>
              </a:cxnLst>
              <a:rect l="l" t="t" r="r" b="b"/>
              <a:pathLst>
                <a:path w="477190" h="29824">
                  <a:moveTo>
                    <a:pt x="0" y="0"/>
                  </a:moveTo>
                  <a:lnTo>
                    <a:pt x="477191" y="0"/>
                  </a:lnTo>
                  <a:lnTo>
                    <a:pt x="477191" y="29824"/>
                  </a:lnTo>
                  <a:lnTo>
                    <a:pt x="0" y="29824"/>
                  </a:lnTo>
                  <a:close/>
                </a:path>
              </a:pathLst>
            </a:custGeom>
            <a:solidFill>
              <a:srgbClr val="52C9FF"/>
            </a:solidFill>
            <a:ln w="14883"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10C15E36-02BC-702E-AA67-FE9AE880269E}"/>
                </a:ext>
              </a:extLst>
            </p:cNvPr>
            <p:cNvSpPr/>
            <p:nvPr/>
          </p:nvSpPr>
          <p:spPr>
            <a:xfrm>
              <a:off x="8982877" y="4108278"/>
              <a:ext cx="477190" cy="29824"/>
            </a:xfrm>
            <a:custGeom>
              <a:avLst/>
              <a:gdLst>
                <a:gd name="connsiteX0" fmla="*/ 0 w 477190"/>
                <a:gd name="connsiteY0" fmla="*/ 0 h 29824"/>
                <a:gd name="connsiteX1" fmla="*/ 477191 w 477190"/>
                <a:gd name="connsiteY1" fmla="*/ 0 h 29824"/>
                <a:gd name="connsiteX2" fmla="*/ 477191 w 477190"/>
                <a:gd name="connsiteY2" fmla="*/ 29824 h 29824"/>
                <a:gd name="connsiteX3" fmla="*/ 0 w 477190"/>
                <a:gd name="connsiteY3" fmla="*/ 29824 h 29824"/>
              </a:gdLst>
              <a:ahLst/>
              <a:cxnLst>
                <a:cxn ang="0">
                  <a:pos x="connsiteX0" y="connsiteY0"/>
                </a:cxn>
                <a:cxn ang="0">
                  <a:pos x="connsiteX1" y="connsiteY1"/>
                </a:cxn>
                <a:cxn ang="0">
                  <a:pos x="connsiteX2" y="connsiteY2"/>
                </a:cxn>
                <a:cxn ang="0">
                  <a:pos x="connsiteX3" y="connsiteY3"/>
                </a:cxn>
              </a:cxnLst>
              <a:rect l="l" t="t" r="r" b="b"/>
              <a:pathLst>
                <a:path w="477190" h="29824">
                  <a:moveTo>
                    <a:pt x="0" y="0"/>
                  </a:moveTo>
                  <a:lnTo>
                    <a:pt x="477191" y="0"/>
                  </a:lnTo>
                  <a:lnTo>
                    <a:pt x="477191" y="29824"/>
                  </a:lnTo>
                  <a:lnTo>
                    <a:pt x="0" y="29824"/>
                  </a:lnTo>
                  <a:close/>
                </a:path>
              </a:pathLst>
            </a:custGeom>
            <a:solidFill>
              <a:srgbClr val="52C9FF"/>
            </a:solidFill>
            <a:ln w="14883"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64AD57E1-B415-CB78-20BD-F271898B3645}"/>
                </a:ext>
              </a:extLst>
            </p:cNvPr>
            <p:cNvSpPr/>
            <p:nvPr/>
          </p:nvSpPr>
          <p:spPr>
            <a:xfrm>
              <a:off x="8982877" y="4167927"/>
              <a:ext cx="298244" cy="29824"/>
            </a:xfrm>
            <a:custGeom>
              <a:avLst/>
              <a:gdLst>
                <a:gd name="connsiteX0" fmla="*/ 0 w 298244"/>
                <a:gd name="connsiteY0" fmla="*/ 0 h 29824"/>
                <a:gd name="connsiteX1" fmla="*/ 298244 w 298244"/>
                <a:gd name="connsiteY1" fmla="*/ 0 h 29824"/>
                <a:gd name="connsiteX2" fmla="*/ 298244 w 298244"/>
                <a:gd name="connsiteY2" fmla="*/ 29824 h 29824"/>
                <a:gd name="connsiteX3" fmla="*/ 0 w 298244"/>
                <a:gd name="connsiteY3" fmla="*/ 29824 h 29824"/>
              </a:gdLst>
              <a:ahLst/>
              <a:cxnLst>
                <a:cxn ang="0">
                  <a:pos x="connsiteX0" y="connsiteY0"/>
                </a:cxn>
                <a:cxn ang="0">
                  <a:pos x="connsiteX1" y="connsiteY1"/>
                </a:cxn>
                <a:cxn ang="0">
                  <a:pos x="connsiteX2" y="connsiteY2"/>
                </a:cxn>
                <a:cxn ang="0">
                  <a:pos x="connsiteX3" y="connsiteY3"/>
                </a:cxn>
              </a:cxnLst>
              <a:rect l="l" t="t" r="r" b="b"/>
              <a:pathLst>
                <a:path w="298244" h="29824">
                  <a:moveTo>
                    <a:pt x="0" y="0"/>
                  </a:moveTo>
                  <a:lnTo>
                    <a:pt x="298244" y="0"/>
                  </a:lnTo>
                  <a:lnTo>
                    <a:pt x="298244" y="29824"/>
                  </a:lnTo>
                  <a:lnTo>
                    <a:pt x="0" y="29824"/>
                  </a:lnTo>
                  <a:close/>
                </a:path>
              </a:pathLst>
            </a:custGeom>
            <a:solidFill>
              <a:srgbClr val="52C9FF"/>
            </a:solidFill>
            <a:ln w="14883"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D88AEF64-136E-E089-26D4-041C1CCEF389}"/>
                </a:ext>
              </a:extLst>
            </p:cNvPr>
            <p:cNvSpPr/>
            <p:nvPr/>
          </p:nvSpPr>
          <p:spPr>
            <a:xfrm>
              <a:off x="8982877" y="4227576"/>
              <a:ext cx="477190" cy="29824"/>
            </a:xfrm>
            <a:custGeom>
              <a:avLst/>
              <a:gdLst>
                <a:gd name="connsiteX0" fmla="*/ 0 w 477190"/>
                <a:gd name="connsiteY0" fmla="*/ 0 h 29824"/>
                <a:gd name="connsiteX1" fmla="*/ 477191 w 477190"/>
                <a:gd name="connsiteY1" fmla="*/ 0 h 29824"/>
                <a:gd name="connsiteX2" fmla="*/ 477191 w 477190"/>
                <a:gd name="connsiteY2" fmla="*/ 29824 h 29824"/>
                <a:gd name="connsiteX3" fmla="*/ 0 w 477190"/>
                <a:gd name="connsiteY3" fmla="*/ 29824 h 29824"/>
              </a:gdLst>
              <a:ahLst/>
              <a:cxnLst>
                <a:cxn ang="0">
                  <a:pos x="connsiteX0" y="connsiteY0"/>
                </a:cxn>
                <a:cxn ang="0">
                  <a:pos x="connsiteX1" y="connsiteY1"/>
                </a:cxn>
                <a:cxn ang="0">
                  <a:pos x="connsiteX2" y="connsiteY2"/>
                </a:cxn>
                <a:cxn ang="0">
                  <a:pos x="connsiteX3" y="connsiteY3"/>
                </a:cxn>
              </a:cxnLst>
              <a:rect l="l" t="t" r="r" b="b"/>
              <a:pathLst>
                <a:path w="477190" h="29824">
                  <a:moveTo>
                    <a:pt x="0" y="0"/>
                  </a:moveTo>
                  <a:lnTo>
                    <a:pt x="477191" y="0"/>
                  </a:lnTo>
                  <a:lnTo>
                    <a:pt x="477191" y="29824"/>
                  </a:lnTo>
                  <a:lnTo>
                    <a:pt x="0" y="29824"/>
                  </a:lnTo>
                  <a:close/>
                </a:path>
              </a:pathLst>
            </a:custGeom>
            <a:solidFill>
              <a:srgbClr val="52C9FF"/>
            </a:solidFill>
            <a:ln w="14883"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BE359EE3-BC52-0C08-57F9-5F958D4DBC03}"/>
                </a:ext>
              </a:extLst>
            </p:cNvPr>
            <p:cNvSpPr/>
            <p:nvPr/>
          </p:nvSpPr>
          <p:spPr>
            <a:xfrm>
              <a:off x="8982877" y="4287225"/>
              <a:ext cx="477190" cy="29824"/>
            </a:xfrm>
            <a:custGeom>
              <a:avLst/>
              <a:gdLst>
                <a:gd name="connsiteX0" fmla="*/ 0 w 477190"/>
                <a:gd name="connsiteY0" fmla="*/ 0 h 29824"/>
                <a:gd name="connsiteX1" fmla="*/ 477191 w 477190"/>
                <a:gd name="connsiteY1" fmla="*/ 0 h 29824"/>
                <a:gd name="connsiteX2" fmla="*/ 477191 w 477190"/>
                <a:gd name="connsiteY2" fmla="*/ 29824 h 29824"/>
                <a:gd name="connsiteX3" fmla="*/ 0 w 477190"/>
                <a:gd name="connsiteY3" fmla="*/ 29824 h 29824"/>
              </a:gdLst>
              <a:ahLst/>
              <a:cxnLst>
                <a:cxn ang="0">
                  <a:pos x="connsiteX0" y="connsiteY0"/>
                </a:cxn>
                <a:cxn ang="0">
                  <a:pos x="connsiteX1" y="connsiteY1"/>
                </a:cxn>
                <a:cxn ang="0">
                  <a:pos x="connsiteX2" y="connsiteY2"/>
                </a:cxn>
                <a:cxn ang="0">
                  <a:pos x="connsiteX3" y="connsiteY3"/>
                </a:cxn>
              </a:cxnLst>
              <a:rect l="l" t="t" r="r" b="b"/>
              <a:pathLst>
                <a:path w="477190" h="29824">
                  <a:moveTo>
                    <a:pt x="0" y="0"/>
                  </a:moveTo>
                  <a:lnTo>
                    <a:pt x="477191" y="0"/>
                  </a:lnTo>
                  <a:lnTo>
                    <a:pt x="477191" y="29824"/>
                  </a:lnTo>
                  <a:lnTo>
                    <a:pt x="0" y="29824"/>
                  </a:lnTo>
                  <a:close/>
                </a:path>
              </a:pathLst>
            </a:custGeom>
            <a:solidFill>
              <a:srgbClr val="52C9FF"/>
            </a:solidFill>
            <a:ln w="14883"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81148741-0CBC-FA6C-86D6-831192AF4F77}"/>
                </a:ext>
              </a:extLst>
            </p:cNvPr>
            <p:cNvSpPr/>
            <p:nvPr/>
          </p:nvSpPr>
          <p:spPr>
            <a:xfrm>
              <a:off x="8982877" y="4346874"/>
              <a:ext cx="477190" cy="29824"/>
            </a:xfrm>
            <a:custGeom>
              <a:avLst/>
              <a:gdLst>
                <a:gd name="connsiteX0" fmla="*/ 0 w 477190"/>
                <a:gd name="connsiteY0" fmla="*/ 0 h 29824"/>
                <a:gd name="connsiteX1" fmla="*/ 477191 w 477190"/>
                <a:gd name="connsiteY1" fmla="*/ 0 h 29824"/>
                <a:gd name="connsiteX2" fmla="*/ 477191 w 477190"/>
                <a:gd name="connsiteY2" fmla="*/ 29824 h 29824"/>
                <a:gd name="connsiteX3" fmla="*/ 0 w 477190"/>
                <a:gd name="connsiteY3" fmla="*/ 29824 h 29824"/>
              </a:gdLst>
              <a:ahLst/>
              <a:cxnLst>
                <a:cxn ang="0">
                  <a:pos x="connsiteX0" y="connsiteY0"/>
                </a:cxn>
                <a:cxn ang="0">
                  <a:pos x="connsiteX1" y="connsiteY1"/>
                </a:cxn>
                <a:cxn ang="0">
                  <a:pos x="connsiteX2" y="connsiteY2"/>
                </a:cxn>
                <a:cxn ang="0">
                  <a:pos x="connsiteX3" y="connsiteY3"/>
                </a:cxn>
              </a:cxnLst>
              <a:rect l="l" t="t" r="r" b="b"/>
              <a:pathLst>
                <a:path w="477190" h="29824">
                  <a:moveTo>
                    <a:pt x="0" y="0"/>
                  </a:moveTo>
                  <a:lnTo>
                    <a:pt x="477191" y="0"/>
                  </a:lnTo>
                  <a:lnTo>
                    <a:pt x="477191" y="29824"/>
                  </a:lnTo>
                  <a:lnTo>
                    <a:pt x="0" y="29824"/>
                  </a:lnTo>
                  <a:close/>
                </a:path>
              </a:pathLst>
            </a:custGeom>
            <a:solidFill>
              <a:srgbClr val="52C9FF"/>
            </a:solidFill>
            <a:ln w="14883"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A152BE45-BCFA-720D-3E53-71D11E456018}"/>
                </a:ext>
              </a:extLst>
            </p:cNvPr>
            <p:cNvSpPr/>
            <p:nvPr/>
          </p:nvSpPr>
          <p:spPr>
            <a:xfrm>
              <a:off x="8982877" y="4406523"/>
              <a:ext cx="477190" cy="29824"/>
            </a:xfrm>
            <a:custGeom>
              <a:avLst/>
              <a:gdLst>
                <a:gd name="connsiteX0" fmla="*/ 0 w 477190"/>
                <a:gd name="connsiteY0" fmla="*/ 0 h 29824"/>
                <a:gd name="connsiteX1" fmla="*/ 477191 w 477190"/>
                <a:gd name="connsiteY1" fmla="*/ 0 h 29824"/>
                <a:gd name="connsiteX2" fmla="*/ 477191 w 477190"/>
                <a:gd name="connsiteY2" fmla="*/ 29824 h 29824"/>
                <a:gd name="connsiteX3" fmla="*/ 0 w 477190"/>
                <a:gd name="connsiteY3" fmla="*/ 29824 h 29824"/>
              </a:gdLst>
              <a:ahLst/>
              <a:cxnLst>
                <a:cxn ang="0">
                  <a:pos x="connsiteX0" y="connsiteY0"/>
                </a:cxn>
                <a:cxn ang="0">
                  <a:pos x="connsiteX1" y="connsiteY1"/>
                </a:cxn>
                <a:cxn ang="0">
                  <a:pos x="connsiteX2" y="connsiteY2"/>
                </a:cxn>
                <a:cxn ang="0">
                  <a:pos x="connsiteX3" y="connsiteY3"/>
                </a:cxn>
              </a:cxnLst>
              <a:rect l="l" t="t" r="r" b="b"/>
              <a:pathLst>
                <a:path w="477190" h="29824">
                  <a:moveTo>
                    <a:pt x="0" y="0"/>
                  </a:moveTo>
                  <a:lnTo>
                    <a:pt x="477191" y="0"/>
                  </a:lnTo>
                  <a:lnTo>
                    <a:pt x="477191" y="29824"/>
                  </a:lnTo>
                  <a:lnTo>
                    <a:pt x="0" y="29824"/>
                  </a:lnTo>
                  <a:close/>
                </a:path>
              </a:pathLst>
            </a:custGeom>
            <a:solidFill>
              <a:srgbClr val="52C9FF"/>
            </a:solidFill>
            <a:ln w="14883"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64D0B1CC-48A2-2D37-94E1-C9501F4D352C}"/>
                </a:ext>
              </a:extLst>
            </p:cNvPr>
            <p:cNvSpPr/>
            <p:nvPr/>
          </p:nvSpPr>
          <p:spPr>
            <a:xfrm>
              <a:off x="8982877" y="4466171"/>
              <a:ext cx="238595" cy="29824"/>
            </a:xfrm>
            <a:custGeom>
              <a:avLst/>
              <a:gdLst>
                <a:gd name="connsiteX0" fmla="*/ 0 w 238595"/>
                <a:gd name="connsiteY0" fmla="*/ 0 h 29824"/>
                <a:gd name="connsiteX1" fmla="*/ 238595 w 238595"/>
                <a:gd name="connsiteY1" fmla="*/ 0 h 29824"/>
                <a:gd name="connsiteX2" fmla="*/ 238595 w 238595"/>
                <a:gd name="connsiteY2" fmla="*/ 29824 h 29824"/>
                <a:gd name="connsiteX3" fmla="*/ 0 w 238595"/>
                <a:gd name="connsiteY3" fmla="*/ 29824 h 29824"/>
              </a:gdLst>
              <a:ahLst/>
              <a:cxnLst>
                <a:cxn ang="0">
                  <a:pos x="connsiteX0" y="connsiteY0"/>
                </a:cxn>
                <a:cxn ang="0">
                  <a:pos x="connsiteX1" y="connsiteY1"/>
                </a:cxn>
                <a:cxn ang="0">
                  <a:pos x="connsiteX2" y="connsiteY2"/>
                </a:cxn>
                <a:cxn ang="0">
                  <a:pos x="connsiteX3" y="connsiteY3"/>
                </a:cxn>
              </a:cxnLst>
              <a:rect l="l" t="t" r="r" b="b"/>
              <a:pathLst>
                <a:path w="238595" h="29824">
                  <a:moveTo>
                    <a:pt x="0" y="0"/>
                  </a:moveTo>
                  <a:lnTo>
                    <a:pt x="238595" y="0"/>
                  </a:lnTo>
                  <a:lnTo>
                    <a:pt x="238595" y="29824"/>
                  </a:lnTo>
                  <a:lnTo>
                    <a:pt x="0" y="29824"/>
                  </a:lnTo>
                  <a:close/>
                </a:path>
              </a:pathLst>
            </a:custGeom>
            <a:solidFill>
              <a:srgbClr val="52C9FF"/>
            </a:solidFill>
            <a:ln w="14883" cap="flat">
              <a:noFill/>
              <a:prstDash val="solid"/>
              <a:miter/>
            </a:ln>
          </p:spPr>
          <p:txBody>
            <a:bodyPr rtlCol="0" anchor="ctr"/>
            <a:lstStyle/>
            <a:p>
              <a:endParaRPr lang="en-US"/>
            </a:p>
          </p:txBody>
        </p:sp>
        <p:sp>
          <p:nvSpPr>
            <p:cNvPr id="60" name="IAV Vehicle">
              <a:extLst>
                <a:ext uri="{FF2B5EF4-FFF2-40B4-BE49-F238E27FC236}">
                  <a16:creationId xmlns:a16="http://schemas.microsoft.com/office/drawing/2014/main" id="{2347A19F-005C-3AC8-A768-57B8AD826778}"/>
                </a:ext>
              </a:extLst>
            </p:cNvPr>
            <p:cNvSpPr>
              <a:spLocks noChangeAspect="1" noEditPoints="1"/>
            </p:cNvSpPr>
            <p:nvPr/>
          </p:nvSpPr>
          <p:spPr bwMode="auto">
            <a:xfrm>
              <a:off x="8902035" y="3597243"/>
              <a:ext cx="638874" cy="245582"/>
            </a:xfrm>
            <a:custGeom>
              <a:avLst/>
              <a:gdLst>
                <a:gd name="T0" fmla="*/ 652 w 783"/>
                <a:gd name="T1" fmla="*/ 176 h 301"/>
                <a:gd name="T2" fmla="*/ 590 w 783"/>
                <a:gd name="T3" fmla="*/ 238 h 301"/>
                <a:gd name="T4" fmla="*/ 652 w 783"/>
                <a:gd name="T5" fmla="*/ 301 h 301"/>
                <a:gd name="T6" fmla="*/ 715 w 783"/>
                <a:gd name="T7" fmla="*/ 238 h 301"/>
                <a:gd name="T8" fmla="*/ 652 w 783"/>
                <a:gd name="T9" fmla="*/ 176 h 301"/>
                <a:gd name="T10" fmla="*/ 652 w 783"/>
                <a:gd name="T11" fmla="*/ 278 h 301"/>
                <a:gd name="T12" fmla="*/ 613 w 783"/>
                <a:gd name="T13" fmla="*/ 238 h 301"/>
                <a:gd name="T14" fmla="*/ 652 w 783"/>
                <a:gd name="T15" fmla="*/ 199 h 301"/>
                <a:gd name="T16" fmla="*/ 692 w 783"/>
                <a:gd name="T17" fmla="*/ 238 h 301"/>
                <a:gd name="T18" fmla="*/ 652 w 783"/>
                <a:gd name="T19" fmla="*/ 278 h 301"/>
                <a:gd name="T20" fmla="*/ 142 w 783"/>
                <a:gd name="T21" fmla="*/ 176 h 301"/>
                <a:gd name="T22" fmla="*/ 80 w 783"/>
                <a:gd name="T23" fmla="*/ 238 h 301"/>
                <a:gd name="T24" fmla="*/ 142 w 783"/>
                <a:gd name="T25" fmla="*/ 301 h 301"/>
                <a:gd name="T26" fmla="*/ 204 w 783"/>
                <a:gd name="T27" fmla="*/ 238 h 301"/>
                <a:gd name="T28" fmla="*/ 142 w 783"/>
                <a:gd name="T29" fmla="*/ 176 h 301"/>
                <a:gd name="T30" fmla="*/ 142 w 783"/>
                <a:gd name="T31" fmla="*/ 278 h 301"/>
                <a:gd name="T32" fmla="*/ 102 w 783"/>
                <a:gd name="T33" fmla="*/ 238 h 301"/>
                <a:gd name="T34" fmla="*/ 142 w 783"/>
                <a:gd name="T35" fmla="*/ 199 h 301"/>
                <a:gd name="T36" fmla="*/ 182 w 783"/>
                <a:gd name="T37" fmla="*/ 238 h 301"/>
                <a:gd name="T38" fmla="*/ 142 w 783"/>
                <a:gd name="T39" fmla="*/ 278 h 301"/>
                <a:gd name="T40" fmla="*/ 572 w 783"/>
                <a:gd name="T41" fmla="*/ 89 h 301"/>
                <a:gd name="T42" fmla="*/ 543 w 783"/>
                <a:gd name="T43" fmla="*/ 73 h 301"/>
                <a:gd name="T44" fmla="*/ 415 w 783"/>
                <a:gd name="T45" fmla="*/ 17 h 301"/>
                <a:gd name="T46" fmla="*/ 176 w 783"/>
                <a:gd name="T47" fmla="*/ 50 h 301"/>
                <a:gd name="T48" fmla="*/ 39 w 783"/>
                <a:gd name="T49" fmla="*/ 88 h 301"/>
                <a:gd name="T50" fmla="*/ 35 w 783"/>
                <a:gd name="T51" fmla="*/ 90 h 301"/>
                <a:gd name="T52" fmla="*/ 0 w 783"/>
                <a:gd name="T53" fmla="*/ 250 h 301"/>
                <a:gd name="T54" fmla="*/ 6 w 783"/>
                <a:gd name="T55" fmla="*/ 256 h 301"/>
                <a:gd name="T56" fmla="*/ 71 w 783"/>
                <a:gd name="T57" fmla="*/ 256 h 301"/>
                <a:gd name="T58" fmla="*/ 68 w 783"/>
                <a:gd name="T59" fmla="*/ 238 h 301"/>
                <a:gd name="T60" fmla="*/ 142 w 783"/>
                <a:gd name="T61" fmla="*/ 165 h 301"/>
                <a:gd name="T62" fmla="*/ 216 w 783"/>
                <a:gd name="T63" fmla="*/ 238 h 301"/>
                <a:gd name="T64" fmla="*/ 213 w 783"/>
                <a:gd name="T65" fmla="*/ 257 h 301"/>
                <a:gd name="T66" fmla="*/ 582 w 783"/>
                <a:gd name="T67" fmla="*/ 260 h 301"/>
                <a:gd name="T68" fmla="*/ 579 w 783"/>
                <a:gd name="T69" fmla="*/ 238 h 301"/>
                <a:gd name="T70" fmla="*/ 652 w 783"/>
                <a:gd name="T71" fmla="*/ 165 h 301"/>
                <a:gd name="T72" fmla="*/ 726 w 783"/>
                <a:gd name="T73" fmla="*/ 238 h 301"/>
                <a:gd name="T74" fmla="*/ 723 w 783"/>
                <a:gd name="T75" fmla="*/ 261 h 301"/>
                <a:gd name="T76" fmla="*/ 777 w 783"/>
                <a:gd name="T77" fmla="*/ 261 h 301"/>
                <a:gd name="T78" fmla="*/ 777 w 783"/>
                <a:gd name="T79" fmla="*/ 261 h 301"/>
                <a:gd name="T80" fmla="*/ 781 w 783"/>
                <a:gd name="T81" fmla="*/ 259 h 301"/>
                <a:gd name="T82" fmla="*/ 783 w 783"/>
                <a:gd name="T83" fmla="*/ 255 h 301"/>
                <a:gd name="T84" fmla="*/ 572 w 783"/>
                <a:gd name="T85" fmla="*/ 89 h 301"/>
                <a:gd name="T86" fmla="*/ 505 w 783"/>
                <a:gd name="T87" fmla="*/ 108 h 301"/>
                <a:gd name="T88" fmla="*/ 165 w 783"/>
                <a:gd name="T89" fmla="*/ 88 h 301"/>
                <a:gd name="T90" fmla="*/ 369 w 783"/>
                <a:gd name="T91" fmla="*/ 29 h 301"/>
                <a:gd name="T92" fmla="*/ 505 w 783"/>
                <a:gd name="T93" fmla="*/ 108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83" h="301">
                  <a:moveTo>
                    <a:pt x="652" y="176"/>
                  </a:moveTo>
                  <a:cubicBezTo>
                    <a:pt x="618" y="176"/>
                    <a:pt x="590" y="204"/>
                    <a:pt x="590" y="238"/>
                  </a:cubicBezTo>
                  <a:cubicBezTo>
                    <a:pt x="590" y="273"/>
                    <a:pt x="618" y="301"/>
                    <a:pt x="652" y="301"/>
                  </a:cubicBezTo>
                  <a:cubicBezTo>
                    <a:pt x="687" y="301"/>
                    <a:pt x="715" y="273"/>
                    <a:pt x="715" y="238"/>
                  </a:cubicBezTo>
                  <a:cubicBezTo>
                    <a:pt x="715" y="204"/>
                    <a:pt x="687" y="176"/>
                    <a:pt x="652" y="176"/>
                  </a:cubicBezTo>
                  <a:close/>
                  <a:moveTo>
                    <a:pt x="652" y="278"/>
                  </a:moveTo>
                  <a:cubicBezTo>
                    <a:pt x="630" y="278"/>
                    <a:pt x="613" y="260"/>
                    <a:pt x="613" y="238"/>
                  </a:cubicBezTo>
                  <a:cubicBezTo>
                    <a:pt x="613" y="217"/>
                    <a:pt x="630" y="199"/>
                    <a:pt x="652" y="199"/>
                  </a:cubicBezTo>
                  <a:cubicBezTo>
                    <a:pt x="674" y="199"/>
                    <a:pt x="692" y="217"/>
                    <a:pt x="692" y="238"/>
                  </a:cubicBezTo>
                  <a:cubicBezTo>
                    <a:pt x="692" y="260"/>
                    <a:pt x="674" y="278"/>
                    <a:pt x="652" y="278"/>
                  </a:cubicBezTo>
                  <a:close/>
                  <a:moveTo>
                    <a:pt x="142" y="176"/>
                  </a:moveTo>
                  <a:cubicBezTo>
                    <a:pt x="108" y="176"/>
                    <a:pt x="80" y="204"/>
                    <a:pt x="80" y="238"/>
                  </a:cubicBezTo>
                  <a:cubicBezTo>
                    <a:pt x="80" y="273"/>
                    <a:pt x="108" y="301"/>
                    <a:pt x="142" y="301"/>
                  </a:cubicBezTo>
                  <a:cubicBezTo>
                    <a:pt x="176" y="301"/>
                    <a:pt x="204" y="273"/>
                    <a:pt x="204" y="238"/>
                  </a:cubicBezTo>
                  <a:cubicBezTo>
                    <a:pt x="204" y="204"/>
                    <a:pt x="176" y="176"/>
                    <a:pt x="142" y="176"/>
                  </a:cubicBezTo>
                  <a:close/>
                  <a:moveTo>
                    <a:pt x="142" y="278"/>
                  </a:moveTo>
                  <a:cubicBezTo>
                    <a:pt x="120" y="278"/>
                    <a:pt x="102" y="260"/>
                    <a:pt x="102" y="238"/>
                  </a:cubicBezTo>
                  <a:cubicBezTo>
                    <a:pt x="102" y="217"/>
                    <a:pt x="120" y="199"/>
                    <a:pt x="142" y="199"/>
                  </a:cubicBezTo>
                  <a:cubicBezTo>
                    <a:pt x="164" y="199"/>
                    <a:pt x="182" y="217"/>
                    <a:pt x="182" y="238"/>
                  </a:cubicBezTo>
                  <a:cubicBezTo>
                    <a:pt x="182" y="260"/>
                    <a:pt x="164" y="278"/>
                    <a:pt x="142" y="278"/>
                  </a:cubicBezTo>
                  <a:close/>
                  <a:moveTo>
                    <a:pt x="572" y="89"/>
                  </a:moveTo>
                  <a:cubicBezTo>
                    <a:pt x="568" y="88"/>
                    <a:pt x="557" y="81"/>
                    <a:pt x="543" y="73"/>
                  </a:cubicBezTo>
                  <a:cubicBezTo>
                    <a:pt x="512" y="55"/>
                    <a:pt x="466" y="28"/>
                    <a:pt x="415" y="17"/>
                  </a:cubicBezTo>
                  <a:cubicBezTo>
                    <a:pt x="332" y="0"/>
                    <a:pt x="260" y="23"/>
                    <a:pt x="176" y="50"/>
                  </a:cubicBezTo>
                  <a:cubicBezTo>
                    <a:pt x="133" y="64"/>
                    <a:pt x="89" y="78"/>
                    <a:pt x="39" y="88"/>
                  </a:cubicBezTo>
                  <a:cubicBezTo>
                    <a:pt x="37" y="88"/>
                    <a:pt x="36" y="89"/>
                    <a:pt x="35" y="90"/>
                  </a:cubicBezTo>
                  <a:cubicBezTo>
                    <a:pt x="34" y="93"/>
                    <a:pt x="0" y="146"/>
                    <a:pt x="0" y="250"/>
                  </a:cubicBezTo>
                  <a:cubicBezTo>
                    <a:pt x="0" y="253"/>
                    <a:pt x="3" y="256"/>
                    <a:pt x="6" y="256"/>
                  </a:cubicBezTo>
                  <a:cubicBezTo>
                    <a:pt x="71" y="256"/>
                    <a:pt x="71" y="256"/>
                    <a:pt x="71" y="256"/>
                  </a:cubicBezTo>
                  <a:cubicBezTo>
                    <a:pt x="69" y="251"/>
                    <a:pt x="68" y="245"/>
                    <a:pt x="68" y="238"/>
                  </a:cubicBezTo>
                  <a:cubicBezTo>
                    <a:pt x="68" y="198"/>
                    <a:pt x="101" y="165"/>
                    <a:pt x="142" y="165"/>
                  </a:cubicBezTo>
                  <a:cubicBezTo>
                    <a:pt x="183" y="165"/>
                    <a:pt x="216" y="198"/>
                    <a:pt x="216" y="238"/>
                  </a:cubicBezTo>
                  <a:cubicBezTo>
                    <a:pt x="216" y="245"/>
                    <a:pt x="215" y="251"/>
                    <a:pt x="213" y="257"/>
                  </a:cubicBezTo>
                  <a:cubicBezTo>
                    <a:pt x="582" y="260"/>
                    <a:pt x="582" y="260"/>
                    <a:pt x="582" y="260"/>
                  </a:cubicBezTo>
                  <a:cubicBezTo>
                    <a:pt x="580" y="253"/>
                    <a:pt x="579" y="246"/>
                    <a:pt x="579" y="238"/>
                  </a:cubicBezTo>
                  <a:cubicBezTo>
                    <a:pt x="579" y="198"/>
                    <a:pt x="612" y="165"/>
                    <a:pt x="652" y="165"/>
                  </a:cubicBezTo>
                  <a:cubicBezTo>
                    <a:pt x="693" y="165"/>
                    <a:pt x="726" y="198"/>
                    <a:pt x="726" y="238"/>
                  </a:cubicBezTo>
                  <a:cubicBezTo>
                    <a:pt x="726" y="246"/>
                    <a:pt x="725" y="254"/>
                    <a:pt x="723" y="261"/>
                  </a:cubicBezTo>
                  <a:cubicBezTo>
                    <a:pt x="777" y="261"/>
                    <a:pt x="777" y="261"/>
                    <a:pt x="777" y="261"/>
                  </a:cubicBezTo>
                  <a:cubicBezTo>
                    <a:pt x="777" y="261"/>
                    <a:pt x="777" y="261"/>
                    <a:pt x="777" y="261"/>
                  </a:cubicBezTo>
                  <a:cubicBezTo>
                    <a:pt x="778" y="261"/>
                    <a:pt x="780" y="261"/>
                    <a:pt x="781" y="259"/>
                  </a:cubicBezTo>
                  <a:cubicBezTo>
                    <a:pt x="782" y="258"/>
                    <a:pt x="783" y="257"/>
                    <a:pt x="783" y="255"/>
                  </a:cubicBezTo>
                  <a:cubicBezTo>
                    <a:pt x="783" y="147"/>
                    <a:pt x="766" y="122"/>
                    <a:pt x="572" y="89"/>
                  </a:cubicBezTo>
                  <a:close/>
                  <a:moveTo>
                    <a:pt x="505" y="108"/>
                  </a:moveTo>
                  <a:cubicBezTo>
                    <a:pt x="459" y="119"/>
                    <a:pt x="165" y="88"/>
                    <a:pt x="165" y="88"/>
                  </a:cubicBezTo>
                  <a:cubicBezTo>
                    <a:pt x="165" y="88"/>
                    <a:pt x="279" y="29"/>
                    <a:pt x="369" y="29"/>
                  </a:cubicBezTo>
                  <a:cubicBezTo>
                    <a:pt x="449" y="29"/>
                    <a:pt x="546" y="98"/>
                    <a:pt x="505" y="1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5" name="TextBox 4">
            <a:extLst>
              <a:ext uri="{FF2B5EF4-FFF2-40B4-BE49-F238E27FC236}">
                <a16:creationId xmlns:a16="http://schemas.microsoft.com/office/drawing/2014/main" id="{D12C362C-454A-2B7F-44CF-62E364CD9758}"/>
              </a:ext>
            </a:extLst>
          </p:cNvPr>
          <p:cNvSpPr txBox="1"/>
          <p:nvPr/>
        </p:nvSpPr>
        <p:spPr>
          <a:xfrm>
            <a:off x="9168857" y="-1"/>
            <a:ext cx="3138292" cy="246221"/>
          </a:xfrm>
          <a:prstGeom prst="rect">
            <a:avLst/>
          </a:prstGeom>
          <a:noFill/>
        </p:spPr>
        <p:txBody>
          <a:bodyPr wrap="square" rtlCol="0">
            <a:spAutoFit/>
          </a:bodyPr>
          <a:lstStyle/>
          <a:p>
            <a:pPr algn="l"/>
            <a:r>
              <a:rPr lang="en-US" sz="1000" dirty="0"/>
              <a:t>API: Application Programming Interface</a:t>
            </a:r>
          </a:p>
        </p:txBody>
      </p:sp>
    </p:spTree>
    <p:extLst>
      <p:ext uri="{BB962C8B-B14F-4D97-AF65-F5344CB8AC3E}">
        <p14:creationId xmlns:p14="http://schemas.microsoft.com/office/powerpoint/2010/main" val="761153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91B08D-8B15-D872-B59F-B3B18C26CE2F}"/>
              </a:ext>
            </a:extLst>
          </p:cNvPr>
          <p:cNvSpPr>
            <a:spLocks noGrp="1"/>
          </p:cNvSpPr>
          <p:nvPr>
            <p:ph type="title"/>
          </p:nvPr>
        </p:nvSpPr>
        <p:spPr/>
        <p:txBody>
          <a:bodyPr/>
          <a:lstStyle/>
          <a:p>
            <a:r>
              <a:rPr lang="en-US" dirty="0"/>
              <a:t>Weaknesses</a:t>
            </a:r>
          </a:p>
        </p:txBody>
      </p:sp>
      <p:sp>
        <p:nvSpPr>
          <p:cNvPr id="4" name="Slide Number Placeholder 3">
            <a:extLst>
              <a:ext uri="{FF2B5EF4-FFF2-40B4-BE49-F238E27FC236}">
                <a16:creationId xmlns:a16="http://schemas.microsoft.com/office/drawing/2014/main" id="{523A6043-A946-F3A7-77C9-BD311A11D831}"/>
              </a:ext>
            </a:extLst>
          </p:cNvPr>
          <p:cNvSpPr>
            <a:spLocks noGrp="1"/>
          </p:cNvSpPr>
          <p:nvPr>
            <p:ph type="sldNum" sz="quarter" idx="11"/>
          </p:nvPr>
        </p:nvSpPr>
        <p:spPr/>
        <p:txBody>
          <a:bodyPr/>
          <a:lstStyle/>
          <a:p>
            <a:fld id="{DD6C52D8-AF7F-4297-9A35-2617B7FF1801}" type="slidenum">
              <a:rPr lang="en-US" smtClean="0"/>
              <a:pPr/>
              <a:t>18</a:t>
            </a:fld>
            <a:endParaRPr lang="en-US" dirty="0"/>
          </a:p>
        </p:txBody>
      </p:sp>
      <p:graphicFrame>
        <p:nvGraphicFramePr>
          <p:cNvPr id="5" name="Table 4">
            <a:extLst>
              <a:ext uri="{FF2B5EF4-FFF2-40B4-BE49-F238E27FC236}">
                <a16:creationId xmlns:a16="http://schemas.microsoft.com/office/drawing/2014/main" id="{97CF6030-DFC6-61B4-6B02-7E3B7D57A708}"/>
              </a:ext>
            </a:extLst>
          </p:cNvPr>
          <p:cNvGraphicFramePr>
            <a:graphicFrameLocks noGrp="1"/>
          </p:cNvGraphicFramePr>
          <p:nvPr>
            <p:extLst>
              <p:ext uri="{D42A27DB-BD31-4B8C-83A1-F6EECF244321}">
                <p14:modId xmlns:p14="http://schemas.microsoft.com/office/powerpoint/2010/main" val="4081903938"/>
              </p:ext>
            </p:extLst>
          </p:nvPr>
        </p:nvGraphicFramePr>
        <p:xfrm>
          <a:off x="541188" y="1303319"/>
          <a:ext cx="10439548" cy="4678036"/>
        </p:xfrm>
        <a:graphic>
          <a:graphicData uri="http://schemas.openxmlformats.org/drawingml/2006/table">
            <a:tbl>
              <a:tblPr firstRow="1" bandRow="1">
                <a:tableStyleId>{5C22544A-7EE6-4342-B048-85BDC9FD1C3A}</a:tableStyleId>
              </a:tblPr>
              <a:tblGrid>
                <a:gridCol w="574540">
                  <a:extLst>
                    <a:ext uri="{9D8B030D-6E8A-4147-A177-3AD203B41FA5}">
                      <a16:colId xmlns:a16="http://schemas.microsoft.com/office/drawing/2014/main" val="533571128"/>
                    </a:ext>
                  </a:extLst>
                </a:gridCol>
                <a:gridCol w="2016224">
                  <a:extLst>
                    <a:ext uri="{9D8B030D-6E8A-4147-A177-3AD203B41FA5}">
                      <a16:colId xmlns:a16="http://schemas.microsoft.com/office/drawing/2014/main" val="3144178721"/>
                    </a:ext>
                  </a:extLst>
                </a:gridCol>
                <a:gridCol w="4284476">
                  <a:extLst>
                    <a:ext uri="{9D8B030D-6E8A-4147-A177-3AD203B41FA5}">
                      <a16:colId xmlns:a16="http://schemas.microsoft.com/office/drawing/2014/main" val="3101270457"/>
                    </a:ext>
                  </a:extLst>
                </a:gridCol>
                <a:gridCol w="3564308">
                  <a:extLst>
                    <a:ext uri="{9D8B030D-6E8A-4147-A177-3AD203B41FA5}">
                      <a16:colId xmlns:a16="http://schemas.microsoft.com/office/drawing/2014/main" val="1474945316"/>
                    </a:ext>
                  </a:extLst>
                </a:gridCol>
              </a:tblGrid>
              <a:tr h="761795">
                <a:tc>
                  <a:txBody>
                    <a:bodyPr/>
                    <a:lstStyle/>
                    <a:p>
                      <a:r>
                        <a:rPr lang="en-US" dirty="0"/>
                        <a:t>No.</a:t>
                      </a:r>
                    </a:p>
                  </a:txBody>
                  <a:tcPr/>
                </a:tc>
                <a:tc>
                  <a:txBody>
                    <a:bodyPr/>
                    <a:lstStyle/>
                    <a:p>
                      <a:r>
                        <a:rPr lang="en-US" dirty="0"/>
                        <a:t>Component</a:t>
                      </a:r>
                    </a:p>
                  </a:txBody>
                  <a:tcPr/>
                </a:tc>
                <a:tc>
                  <a:txBody>
                    <a:bodyPr/>
                    <a:lstStyle/>
                    <a:p>
                      <a:r>
                        <a:rPr lang="en-US" dirty="0"/>
                        <a:t>Weakness</a:t>
                      </a:r>
                    </a:p>
                  </a:txBody>
                  <a:tcPr/>
                </a:tc>
                <a:tc>
                  <a:txBody>
                    <a:bodyPr/>
                    <a:lstStyle/>
                    <a:p>
                      <a:r>
                        <a:rPr lang="en-US" dirty="0"/>
                        <a:t>Results </a:t>
                      </a:r>
                    </a:p>
                  </a:txBody>
                  <a:tcPr/>
                </a:tc>
                <a:extLst>
                  <a:ext uri="{0D108BD9-81ED-4DB2-BD59-A6C34878D82A}">
                    <a16:rowId xmlns:a16="http://schemas.microsoft.com/office/drawing/2014/main" val="2718810979"/>
                  </a:ext>
                </a:extLst>
              </a:tr>
              <a:tr h="761795">
                <a:tc>
                  <a:txBody>
                    <a:bodyPr/>
                    <a:lstStyle/>
                    <a:p>
                      <a:r>
                        <a:rPr lang="en-US" dirty="0"/>
                        <a:t>1.</a:t>
                      </a:r>
                    </a:p>
                  </a:txBody>
                  <a:tcPr/>
                </a:tc>
                <a:tc>
                  <a:txBody>
                    <a:bodyPr/>
                    <a:lstStyle/>
                    <a:p>
                      <a:r>
                        <a:rPr lang="en-US" sz="1701" kern="1200" dirty="0">
                          <a:solidFill>
                            <a:schemeClr val="dk1"/>
                          </a:solidFill>
                          <a:effectLst/>
                          <a:latin typeface="+mn-lt"/>
                          <a:ea typeface="+mn-ea"/>
                          <a:cs typeface="+mn-cs"/>
                        </a:rPr>
                        <a:t>Dealer Web Portal</a:t>
                      </a:r>
                      <a:endParaRPr lang="en-US" b="1" dirty="0"/>
                    </a:p>
                  </a:txBody>
                  <a:tcPr/>
                </a:tc>
                <a:tc>
                  <a:txBody>
                    <a:bodyPr/>
                    <a:lstStyle/>
                    <a:p>
                      <a:r>
                        <a:rPr lang="en-US" dirty="0">
                          <a:solidFill>
                            <a:schemeClr val="accent4"/>
                          </a:solidFill>
                        </a:rPr>
                        <a:t>No access restriction</a:t>
                      </a:r>
                      <a:r>
                        <a:rPr lang="en-US" dirty="0"/>
                        <a:t> and </a:t>
                      </a:r>
                      <a:r>
                        <a:rPr lang="en-US" dirty="0">
                          <a:solidFill>
                            <a:schemeClr val="accent4"/>
                          </a:solidFill>
                        </a:rPr>
                        <a:t>no approval process</a:t>
                      </a:r>
                      <a:r>
                        <a:rPr lang="en-US" dirty="0"/>
                        <a:t> for newly created dealer accounts</a:t>
                      </a:r>
                    </a:p>
                  </a:txBody>
                  <a:tcPr/>
                </a:tc>
                <a:tc>
                  <a:txBody>
                    <a:bodyPr/>
                    <a:lstStyle/>
                    <a:p>
                      <a:r>
                        <a:rPr lang="en-US" dirty="0"/>
                        <a:t>Attacker can </a:t>
                      </a:r>
                      <a:r>
                        <a:rPr lang="en-US" dirty="0">
                          <a:solidFill>
                            <a:schemeClr val="accent4"/>
                          </a:solidFill>
                        </a:rPr>
                        <a:t>register</a:t>
                      </a:r>
                      <a:r>
                        <a:rPr lang="en-US" dirty="0"/>
                        <a:t> as a </a:t>
                      </a:r>
                      <a:r>
                        <a:rPr lang="en-US" dirty="0">
                          <a:solidFill>
                            <a:schemeClr val="accent4"/>
                          </a:solidFill>
                        </a:rPr>
                        <a:t>dealer</a:t>
                      </a:r>
                    </a:p>
                  </a:txBody>
                  <a:tcPr/>
                </a:tc>
                <a:extLst>
                  <a:ext uri="{0D108BD9-81ED-4DB2-BD59-A6C34878D82A}">
                    <a16:rowId xmlns:a16="http://schemas.microsoft.com/office/drawing/2014/main" val="1254205183"/>
                  </a:ext>
                </a:extLst>
              </a:tr>
              <a:tr h="761795">
                <a:tc>
                  <a:txBody>
                    <a:bodyPr/>
                    <a:lstStyle/>
                    <a:p>
                      <a:r>
                        <a:rPr lang="en-US" dirty="0"/>
                        <a:t>2.</a:t>
                      </a:r>
                    </a:p>
                  </a:txBody>
                  <a:tcPr/>
                </a:tc>
                <a:tc>
                  <a: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US" sz="1701" kern="1200" dirty="0">
                          <a:solidFill>
                            <a:schemeClr val="dk1"/>
                          </a:solidFill>
                          <a:effectLst/>
                          <a:latin typeface="+mn-lt"/>
                          <a:ea typeface="+mn-ea"/>
                          <a:cs typeface="+mn-cs"/>
                        </a:rPr>
                        <a:t>Dealer Web Portal</a:t>
                      </a:r>
                    </a:p>
                  </a:txBody>
                  <a:tcPr/>
                </a:tc>
                <a:tc>
                  <a:txBody>
                    <a:bodyPr/>
                    <a:lstStyle/>
                    <a:p>
                      <a:r>
                        <a:rPr lang="en-US" dirty="0">
                          <a:solidFill>
                            <a:schemeClr val="accent4"/>
                          </a:solidFill>
                        </a:rPr>
                        <a:t>Exposed sensitive functionality </a:t>
                      </a:r>
                      <a:r>
                        <a:rPr lang="en-US" dirty="0"/>
                        <a:t>via client-side JavaScript</a:t>
                      </a:r>
                    </a:p>
                  </a:txBody>
                  <a:tcPr/>
                </a:tc>
                <a:tc>
                  <a:txBody>
                    <a:bodyPr/>
                    <a:lstStyle/>
                    <a:p>
                      <a:r>
                        <a:rPr lang="en-US" dirty="0"/>
                        <a:t>Attacker as fake dealer can call </a:t>
                      </a:r>
                      <a:r>
                        <a:rPr lang="en-US" dirty="0">
                          <a:solidFill>
                            <a:schemeClr val="accent4"/>
                          </a:solidFill>
                        </a:rPr>
                        <a:t>privileged</a:t>
                      </a:r>
                      <a:r>
                        <a:rPr lang="en-US" dirty="0"/>
                        <a:t> backend APIs</a:t>
                      </a:r>
                    </a:p>
                  </a:txBody>
                  <a:tcPr/>
                </a:tc>
                <a:extLst>
                  <a:ext uri="{0D108BD9-81ED-4DB2-BD59-A6C34878D82A}">
                    <a16:rowId xmlns:a16="http://schemas.microsoft.com/office/drawing/2014/main" val="1564494816"/>
                  </a:ext>
                </a:extLst>
              </a:tr>
              <a:tr h="761795">
                <a:tc>
                  <a:txBody>
                    <a:bodyPr/>
                    <a:lstStyle/>
                    <a:p>
                      <a:r>
                        <a:rPr lang="en-US" dirty="0"/>
                        <a:t>3.</a:t>
                      </a:r>
                    </a:p>
                  </a:txBody>
                  <a:tcPr/>
                </a:tc>
                <a:tc>
                  <a:txBody>
                    <a:bodyPr/>
                    <a:lstStyle/>
                    <a:p>
                      <a:r>
                        <a:rPr lang="en-US" dirty="0"/>
                        <a:t>Backend APIs</a:t>
                      </a:r>
                    </a:p>
                  </a:txBody>
                  <a:tcPr/>
                </a:tc>
                <a:tc>
                  <a:txBody>
                    <a:bodyPr/>
                    <a:lstStyle/>
                    <a:p>
                      <a:r>
                        <a:rPr lang="en-US" dirty="0">
                          <a:solidFill>
                            <a:schemeClr val="accent4"/>
                          </a:solidFill>
                        </a:rPr>
                        <a:t>Missing </a:t>
                      </a:r>
                      <a:r>
                        <a:rPr lang="en-US" dirty="0"/>
                        <a:t>authorization validation</a:t>
                      </a:r>
                    </a:p>
                  </a:txBody>
                  <a:tcPr/>
                </a:tc>
                <a:tc>
                  <a:txBody>
                    <a:bodyPr/>
                    <a:lstStyle/>
                    <a:p>
                      <a:r>
                        <a:rPr lang="en-US" dirty="0"/>
                        <a:t>Attacker can </a:t>
                      </a:r>
                      <a:r>
                        <a:rPr lang="en-US" dirty="0">
                          <a:solidFill>
                            <a:schemeClr val="accent4"/>
                          </a:solidFill>
                        </a:rPr>
                        <a:t>reassign</a:t>
                      </a:r>
                      <a:r>
                        <a:rPr lang="en-US" dirty="0"/>
                        <a:t> a </a:t>
                      </a:r>
                      <a:r>
                        <a:rPr lang="en-US" dirty="0">
                          <a:solidFill>
                            <a:schemeClr val="accent4"/>
                          </a:solidFill>
                        </a:rPr>
                        <a:t>vehicle</a:t>
                      </a:r>
                      <a:r>
                        <a:rPr lang="en-US" dirty="0"/>
                        <a:t> without owning it</a:t>
                      </a:r>
                    </a:p>
                  </a:txBody>
                  <a:tcPr/>
                </a:tc>
                <a:extLst>
                  <a:ext uri="{0D108BD9-81ED-4DB2-BD59-A6C34878D82A}">
                    <a16:rowId xmlns:a16="http://schemas.microsoft.com/office/drawing/2014/main" val="2433984512"/>
                  </a:ext>
                </a:extLst>
              </a:tr>
              <a:tr h="761795">
                <a:tc>
                  <a:txBody>
                    <a:bodyPr/>
                    <a:lstStyle/>
                    <a:p>
                      <a:r>
                        <a:rPr lang="en-US" dirty="0"/>
                        <a:t>4.</a:t>
                      </a:r>
                    </a:p>
                  </a:txBody>
                  <a:tcPr/>
                </a:tc>
                <a:tc>
                  <a: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US" dirty="0"/>
                        <a:t>Backend APIs</a:t>
                      </a:r>
                    </a:p>
                  </a:txBody>
                  <a:tcPr/>
                </a:tc>
                <a:tc>
                  <a:txBody>
                    <a:bodyPr/>
                    <a:lstStyle/>
                    <a:p>
                      <a:r>
                        <a:rPr lang="en-US" dirty="0">
                          <a:solidFill>
                            <a:schemeClr val="accent4"/>
                          </a:solidFill>
                        </a:rPr>
                        <a:t>No rate limiting</a:t>
                      </a:r>
                    </a:p>
                  </a:txBody>
                  <a:tcPr/>
                </a:tc>
                <a:tc>
                  <a:txBody>
                    <a:bodyPr/>
                    <a:lstStyle/>
                    <a:p>
                      <a:r>
                        <a:rPr lang="en-US" dirty="0"/>
                        <a:t>Attacker can </a:t>
                      </a:r>
                      <a:r>
                        <a:rPr lang="en-US" dirty="0">
                          <a:solidFill>
                            <a:schemeClr val="accent4"/>
                          </a:solidFill>
                        </a:rPr>
                        <a:t>brute-force</a:t>
                      </a:r>
                      <a:r>
                        <a:rPr lang="en-US" dirty="0"/>
                        <a:t> or automate attacks</a:t>
                      </a:r>
                    </a:p>
                  </a:txBody>
                  <a:tcPr/>
                </a:tc>
                <a:extLst>
                  <a:ext uri="{0D108BD9-81ED-4DB2-BD59-A6C34878D82A}">
                    <a16:rowId xmlns:a16="http://schemas.microsoft.com/office/drawing/2014/main" val="2281448572"/>
                  </a:ext>
                </a:extLst>
              </a:tr>
              <a:tr h="761795">
                <a:tc>
                  <a:txBody>
                    <a:bodyPr/>
                    <a:lstStyle/>
                    <a:p>
                      <a:r>
                        <a:rPr lang="en-US" dirty="0"/>
                        <a:t>5.</a:t>
                      </a:r>
                    </a:p>
                  </a:txBody>
                  <a:tcPr/>
                </a:tc>
                <a:tc>
                  <a: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US" dirty="0"/>
                        <a:t>Backend APIs</a:t>
                      </a:r>
                    </a:p>
                  </a:txBody>
                  <a:tcPr/>
                </a:tc>
                <a:tc>
                  <a:txBody>
                    <a:bodyPr/>
                    <a:lstStyle/>
                    <a:p>
                      <a:r>
                        <a:rPr lang="en-US" dirty="0">
                          <a:solidFill>
                            <a:schemeClr val="accent4"/>
                          </a:solidFill>
                        </a:rPr>
                        <a:t>Sensitive</a:t>
                      </a:r>
                      <a:r>
                        <a:rPr lang="en-US" dirty="0"/>
                        <a:t> </a:t>
                      </a:r>
                      <a:r>
                        <a:rPr lang="en-US" dirty="0">
                          <a:solidFill>
                            <a:schemeClr val="accent4"/>
                          </a:solidFill>
                        </a:rPr>
                        <a:t>data</a:t>
                      </a:r>
                      <a:r>
                        <a:rPr lang="en-US" dirty="0"/>
                        <a:t> exposure</a:t>
                      </a:r>
                    </a:p>
                  </a:txBody>
                  <a:tcPr/>
                </a:tc>
                <a:tc>
                  <a:txBody>
                    <a:bodyPr/>
                    <a:lstStyle/>
                    <a:p>
                      <a:r>
                        <a:rPr lang="en-US" dirty="0"/>
                        <a:t>Attacker can </a:t>
                      </a:r>
                      <a:r>
                        <a:rPr lang="en-US" dirty="0">
                          <a:solidFill>
                            <a:schemeClr val="accent4"/>
                          </a:solidFill>
                        </a:rPr>
                        <a:t>extract user details </a:t>
                      </a:r>
                      <a:r>
                        <a:rPr lang="en-US" dirty="0"/>
                        <a:t>including name, phone number and email address</a:t>
                      </a:r>
                    </a:p>
                  </a:txBody>
                  <a:tcPr/>
                </a:tc>
                <a:extLst>
                  <a:ext uri="{0D108BD9-81ED-4DB2-BD59-A6C34878D82A}">
                    <a16:rowId xmlns:a16="http://schemas.microsoft.com/office/drawing/2014/main" val="589926178"/>
                  </a:ext>
                </a:extLst>
              </a:tr>
            </a:tbl>
          </a:graphicData>
        </a:graphic>
      </p:graphicFrame>
      <p:sp>
        <p:nvSpPr>
          <p:cNvPr id="6" name="Footer Placeholder 2">
            <a:extLst>
              <a:ext uri="{FF2B5EF4-FFF2-40B4-BE49-F238E27FC236}">
                <a16:creationId xmlns:a16="http://schemas.microsoft.com/office/drawing/2014/main" id="{C66BC265-43BC-B5FC-C91D-DDEEA4B2058C}"/>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sp>
        <p:nvSpPr>
          <p:cNvPr id="7" name="TextBox 6">
            <a:extLst>
              <a:ext uri="{FF2B5EF4-FFF2-40B4-BE49-F238E27FC236}">
                <a16:creationId xmlns:a16="http://schemas.microsoft.com/office/drawing/2014/main" id="{1FD56CC0-3B1A-BF31-20E7-41532DDAC20B}"/>
              </a:ext>
            </a:extLst>
          </p:cNvPr>
          <p:cNvSpPr txBox="1"/>
          <p:nvPr/>
        </p:nvSpPr>
        <p:spPr>
          <a:xfrm>
            <a:off x="9168857" y="-1"/>
            <a:ext cx="3138292" cy="246221"/>
          </a:xfrm>
          <a:prstGeom prst="rect">
            <a:avLst/>
          </a:prstGeom>
          <a:noFill/>
        </p:spPr>
        <p:txBody>
          <a:bodyPr wrap="square" rtlCol="0">
            <a:spAutoFit/>
          </a:bodyPr>
          <a:lstStyle/>
          <a:p>
            <a:pPr algn="l"/>
            <a:r>
              <a:rPr lang="en-US" sz="1000" dirty="0"/>
              <a:t>API: Application Programming Interface</a:t>
            </a:r>
          </a:p>
        </p:txBody>
      </p:sp>
    </p:spTree>
    <p:extLst>
      <p:ext uri="{BB962C8B-B14F-4D97-AF65-F5344CB8AC3E}">
        <p14:creationId xmlns:p14="http://schemas.microsoft.com/office/powerpoint/2010/main" val="32928512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A9BFC9-109C-4220-353C-BE646CFD6157}"/>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D5DAA06-0562-C4FE-9266-AF388A21EFDB}"/>
              </a:ext>
            </a:extLst>
          </p:cNvPr>
          <p:cNvSpPr>
            <a:spLocks noGrp="1"/>
          </p:cNvSpPr>
          <p:nvPr>
            <p:ph type="title"/>
          </p:nvPr>
        </p:nvSpPr>
        <p:spPr/>
        <p:txBody>
          <a:bodyPr/>
          <a:lstStyle/>
          <a:p>
            <a:r>
              <a:rPr lang="en-US" dirty="0"/>
              <a:t>Attack Steps</a:t>
            </a:r>
          </a:p>
        </p:txBody>
      </p:sp>
      <p:sp>
        <p:nvSpPr>
          <p:cNvPr id="3" name="Footer Placeholder 2">
            <a:extLst>
              <a:ext uri="{FF2B5EF4-FFF2-40B4-BE49-F238E27FC236}">
                <a16:creationId xmlns:a16="http://schemas.microsoft.com/office/drawing/2014/main" id="{0E78A89C-3593-E529-141A-444F3319A859}"/>
              </a:ext>
            </a:extLst>
          </p:cNvPr>
          <p:cNvSpPr>
            <a:spLocks noGrp="1"/>
          </p:cNvSpPr>
          <p:nvPr>
            <p:ph type="ftr" sz="quarter" idx="10"/>
          </p:nvPr>
        </p:nvSpPr>
        <p:spPr/>
        <p:txBody>
          <a:bodyPr/>
          <a:lstStyle/>
          <a:p>
            <a:r>
              <a:rPr lang="en-US" dirty="0"/>
              <a:t>IAV  05/2025  IAVJ  DKO  Status: draft, confidential</a:t>
            </a:r>
          </a:p>
        </p:txBody>
      </p:sp>
      <p:sp>
        <p:nvSpPr>
          <p:cNvPr id="4" name="Slide Number Placeholder 3">
            <a:extLst>
              <a:ext uri="{FF2B5EF4-FFF2-40B4-BE49-F238E27FC236}">
                <a16:creationId xmlns:a16="http://schemas.microsoft.com/office/drawing/2014/main" id="{B0B29232-155D-EB2E-8025-FA6EFB561B2B}"/>
              </a:ext>
            </a:extLst>
          </p:cNvPr>
          <p:cNvSpPr>
            <a:spLocks noGrp="1"/>
          </p:cNvSpPr>
          <p:nvPr>
            <p:ph type="sldNum" sz="quarter" idx="11"/>
          </p:nvPr>
        </p:nvSpPr>
        <p:spPr/>
        <p:txBody>
          <a:bodyPr/>
          <a:lstStyle/>
          <a:p>
            <a:fld id="{C651C7C4-31E4-E340-822E-DEA0EA75A835}" type="slidenum">
              <a:rPr lang="en-US" smtClean="0"/>
              <a:pPr/>
              <a:t>19</a:t>
            </a:fld>
            <a:endParaRPr lang="en-US" dirty="0"/>
          </a:p>
        </p:txBody>
      </p:sp>
      <p:cxnSp>
        <p:nvCxnSpPr>
          <p:cNvPr id="15" name="Straight Arrow Connector 14">
            <a:extLst>
              <a:ext uri="{FF2B5EF4-FFF2-40B4-BE49-F238E27FC236}">
                <a16:creationId xmlns:a16="http://schemas.microsoft.com/office/drawing/2014/main" id="{75279761-C5B1-8573-CA08-7D1C3CDE14DE}"/>
              </a:ext>
            </a:extLst>
          </p:cNvPr>
          <p:cNvCxnSpPr/>
          <p:nvPr/>
        </p:nvCxnSpPr>
        <p:spPr>
          <a:xfrm flipH="1" flipV="1">
            <a:off x="6828841" y="2354150"/>
            <a:ext cx="1764196" cy="1152128"/>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6F076A6-BA1F-3C04-E1A6-3AE425BCC814}"/>
              </a:ext>
            </a:extLst>
          </p:cNvPr>
          <p:cNvCxnSpPr>
            <a:cxnSpLocks/>
          </p:cNvCxnSpPr>
          <p:nvPr/>
        </p:nvCxnSpPr>
        <p:spPr>
          <a:xfrm flipH="1">
            <a:off x="2545512" y="2354150"/>
            <a:ext cx="1764196" cy="1152128"/>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5DDD9A3E-29DC-8F7C-BA00-9662864605B7}"/>
              </a:ext>
            </a:extLst>
          </p:cNvPr>
          <p:cNvSpPr/>
          <p:nvPr/>
        </p:nvSpPr>
        <p:spPr>
          <a:xfrm>
            <a:off x="1007716" y="5316168"/>
            <a:ext cx="9397044" cy="52908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en-US" sz="2000" dirty="0"/>
              <a:t>Multiple attacks steps involved to gain access to vehicle control and user data</a:t>
            </a:r>
          </a:p>
        </p:txBody>
      </p:sp>
      <p:sp>
        <p:nvSpPr>
          <p:cNvPr id="8" name="TextBox 7">
            <a:extLst>
              <a:ext uri="{FF2B5EF4-FFF2-40B4-BE49-F238E27FC236}">
                <a16:creationId xmlns:a16="http://schemas.microsoft.com/office/drawing/2014/main" id="{62823C6D-F0D8-BD8F-DE8F-B2EC79755312}"/>
              </a:ext>
            </a:extLst>
          </p:cNvPr>
          <p:cNvSpPr txBox="1"/>
          <p:nvPr/>
        </p:nvSpPr>
        <p:spPr>
          <a:xfrm>
            <a:off x="9168857" y="-1"/>
            <a:ext cx="3138292" cy="246221"/>
          </a:xfrm>
          <a:prstGeom prst="rect">
            <a:avLst/>
          </a:prstGeom>
          <a:noFill/>
        </p:spPr>
        <p:txBody>
          <a:bodyPr wrap="square" rtlCol="0">
            <a:spAutoFit/>
          </a:bodyPr>
          <a:lstStyle/>
          <a:p>
            <a:pPr algn="l"/>
            <a:r>
              <a:rPr lang="en-US" sz="1000" dirty="0"/>
              <a:t>API: Application Programming Interface</a:t>
            </a:r>
          </a:p>
        </p:txBody>
      </p:sp>
      <p:sp>
        <p:nvSpPr>
          <p:cNvPr id="12" name="IAV Vehicle">
            <a:extLst>
              <a:ext uri="{FF2B5EF4-FFF2-40B4-BE49-F238E27FC236}">
                <a16:creationId xmlns:a16="http://schemas.microsoft.com/office/drawing/2014/main" id="{7DF1B518-4E11-E098-76C3-92903382B92F}"/>
              </a:ext>
            </a:extLst>
          </p:cNvPr>
          <p:cNvSpPr>
            <a:spLocks noChangeAspect="1" noEditPoints="1"/>
          </p:cNvSpPr>
          <p:nvPr/>
        </p:nvSpPr>
        <p:spPr bwMode="auto">
          <a:xfrm>
            <a:off x="719664" y="3776532"/>
            <a:ext cx="2917732" cy="1121569"/>
          </a:xfrm>
          <a:custGeom>
            <a:avLst/>
            <a:gdLst>
              <a:gd name="T0" fmla="*/ 652 w 783"/>
              <a:gd name="T1" fmla="*/ 176 h 301"/>
              <a:gd name="T2" fmla="*/ 590 w 783"/>
              <a:gd name="T3" fmla="*/ 238 h 301"/>
              <a:gd name="T4" fmla="*/ 652 w 783"/>
              <a:gd name="T5" fmla="*/ 301 h 301"/>
              <a:gd name="T6" fmla="*/ 715 w 783"/>
              <a:gd name="T7" fmla="*/ 238 h 301"/>
              <a:gd name="T8" fmla="*/ 652 w 783"/>
              <a:gd name="T9" fmla="*/ 176 h 301"/>
              <a:gd name="T10" fmla="*/ 652 w 783"/>
              <a:gd name="T11" fmla="*/ 278 h 301"/>
              <a:gd name="T12" fmla="*/ 613 w 783"/>
              <a:gd name="T13" fmla="*/ 238 h 301"/>
              <a:gd name="T14" fmla="*/ 652 w 783"/>
              <a:gd name="T15" fmla="*/ 199 h 301"/>
              <a:gd name="T16" fmla="*/ 692 w 783"/>
              <a:gd name="T17" fmla="*/ 238 h 301"/>
              <a:gd name="T18" fmla="*/ 652 w 783"/>
              <a:gd name="T19" fmla="*/ 278 h 301"/>
              <a:gd name="T20" fmla="*/ 142 w 783"/>
              <a:gd name="T21" fmla="*/ 176 h 301"/>
              <a:gd name="T22" fmla="*/ 80 w 783"/>
              <a:gd name="T23" fmla="*/ 238 h 301"/>
              <a:gd name="T24" fmla="*/ 142 w 783"/>
              <a:gd name="T25" fmla="*/ 301 h 301"/>
              <a:gd name="T26" fmla="*/ 204 w 783"/>
              <a:gd name="T27" fmla="*/ 238 h 301"/>
              <a:gd name="T28" fmla="*/ 142 w 783"/>
              <a:gd name="T29" fmla="*/ 176 h 301"/>
              <a:gd name="T30" fmla="*/ 142 w 783"/>
              <a:gd name="T31" fmla="*/ 278 h 301"/>
              <a:gd name="T32" fmla="*/ 102 w 783"/>
              <a:gd name="T33" fmla="*/ 238 h 301"/>
              <a:gd name="T34" fmla="*/ 142 w 783"/>
              <a:gd name="T35" fmla="*/ 199 h 301"/>
              <a:gd name="T36" fmla="*/ 182 w 783"/>
              <a:gd name="T37" fmla="*/ 238 h 301"/>
              <a:gd name="T38" fmla="*/ 142 w 783"/>
              <a:gd name="T39" fmla="*/ 278 h 301"/>
              <a:gd name="T40" fmla="*/ 572 w 783"/>
              <a:gd name="T41" fmla="*/ 89 h 301"/>
              <a:gd name="T42" fmla="*/ 543 w 783"/>
              <a:gd name="T43" fmla="*/ 73 h 301"/>
              <a:gd name="T44" fmla="*/ 415 w 783"/>
              <a:gd name="T45" fmla="*/ 17 h 301"/>
              <a:gd name="T46" fmla="*/ 176 w 783"/>
              <a:gd name="T47" fmla="*/ 50 h 301"/>
              <a:gd name="T48" fmla="*/ 39 w 783"/>
              <a:gd name="T49" fmla="*/ 88 h 301"/>
              <a:gd name="T50" fmla="*/ 35 w 783"/>
              <a:gd name="T51" fmla="*/ 90 h 301"/>
              <a:gd name="T52" fmla="*/ 0 w 783"/>
              <a:gd name="T53" fmla="*/ 250 h 301"/>
              <a:gd name="T54" fmla="*/ 6 w 783"/>
              <a:gd name="T55" fmla="*/ 256 h 301"/>
              <a:gd name="T56" fmla="*/ 71 w 783"/>
              <a:gd name="T57" fmla="*/ 256 h 301"/>
              <a:gd name="T58" fmla="*/ 68 w 783"/>
              <a:gd name="T59" fmla="*/ 238 h 301"/>
              <a:gd name="T60" fmla="*/ 142 w 783"/>
              <a:gd name="T61" fmla="*/ 165 h 301"/>
              <a:gd name="T62" fmla="*/ 216 w 783"/>
              <a:gd name="T63" fmla="*/ 238 h 301"/>
              <a:gd name="T64" fmla="*/ 213 w 783"/>
              <a:gd name="T65" fmla="*/ 257 h 301"/>
              <a:gd name="T66" fmla="*/ 582 w 783"/>
              <a:gd name="T67" fmla="*/ 260 h 301"/>
              <a:gd name="T68" fmla="*/ 579 w 783"/>
              <a:gd name="T69" fmla="*/ 238 h 301"/>
              <a:gd name="T70" fmla="*/ 652 w 783"/>
              <a:gd name="T71" fmla="*/ 165 h 301"/>
              <a:gd name="T72" fmla="*/ 726 w 783"/>
              <a:gd name="T73" fmla="*/ 238 h 301"/>
              <a:gd name="T74" fmla="*/ 723 w 783"/>
              <a:gd name="T75" fmla="*/ 261 h 301"/>
              <a:gd name="T76" fmla="*/ 777 w 783"/>
              <a:gd name="T77" fmla="*/ 261 h 301"/>
              <a:gd name="T78" fmla="*/ 777 w 783"/>
              <a:gd name="T79" fmla="*/ 261 h 301"/>
              <a:gd name="T80" fmla="*/ 781 w 783"/>
              <a:gd name="T81" fmla="*/ 259 h 301"/>
              <a:gd name="T82" fmla="*/ 783 w 783"/>
              <a:gd name="T83" fmla="*/ 255 h 301"/>
              <a:gd name="T84" fmla="*/ 572 w 783"/>
              <a:gd name="T85" fmla="*/ 89 h 301"/>
              <a:gd name="T86" fmla="*/ 505 w 783"/>
              <a:gd name="T87" fmla="*/ 108 h 301"/>
              <a:gd name="T88" fmla="*/ 165 w 783"/>
              <a:gd name="T89" fmla="*/ 88 h 301"/>
              <a:gd name="T90" fmla="*/ 369 w 783"/>
              <a:gd name="T91" fmla="*/ 29 h 301"/>
              <a:gd name="T92" fmla="*/ 505 w 783"/>
              <a:gd name="T93" fmla="*/ 108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83" h="301">
                <a:moveTo>
                  <a:pt x="652" y="176"/>
                </a:moveTo>
                <a:cubicBezTo>
                  <a:pt x="618" y="176"/>
                  <a:pt x="590" y="204"/>
                  <a:pt x="590" y="238"/>
                </a:cubicBezTo>
                <a:cubicBezTo>
                  <a:pt x="590" y="273"/>
                  <a:pt x="618" y="301"/>
                  <a:pt x="652" y="301"/>
                </a:cubicBezTo>
                <a:cubicBezTo>
                  <a:pt x="687" y="301"/>
                  <a:pt x="715" y="273"/>
                  <a:pt x="715" y="238"/>
                </a:cubicBezTo>
                <a:cubicBezTo>
                  <a:pt x="715" y="204"/>
                  <a:pt x="687" y="176"/>
                  <a:pt x="652" y="176"/>
                </a:cubicBezTo>
                <a:close/>
                <a:moveTo>
                  <a:pt x="652" y="278"/>
                </a:moveTo>
                <a:cubicBezTo>
                  <a:pt x="630" y="278"/>
                  <a:pt x="613" y="260"/>
                  <a:pt x="613" y="238"/>
                </a:cubicBezTo>
                <a:cubicBezTo>
                  <a:pt x="613" y="217"/>
                  <a:pt x="630" y="199"/>
                  <a:pt x="652" y="199"/>
                </a:cubicBezTo>
                <a:cubicBezTo>
                  <a:pt x="674" y="199"/>
                  <a:pt x="692" y="217"/>
                  <a:pt x="692" y="238"/>
                </a:cubicBezTo>
                <a:cubicBezTo>
                  <a:pt x="692" y="260"/>
                  <a:pt x="674" y="278"/>
                  <a:pt x="652" y="278"/>
                </a:cubicBezTo>
                <a:close/>
                <a:moveTo>
                  <a:pt x="142" y="176"/>
                </a:moveTo>
                <a:cubicBezTo>
                  <a:pt x="108" y="176"/>
                  <a:pt x="80" y="204"/>
                  <a:pt x="80" y="238"/>
                </a:cubicBezTo>
                <a:cubicBezTo>
                  <a:pt x="80" y="273"/>
                  <a:pt x="108" y="301"/>
                  <a:pt x="142" y="301"/>
                </a:cubicBezTo>
                <a:cubicBezTo>
                  <a:pt x="176" y="301"/>
                  <a:pt x="204" y="273"/>
                  <a:pt x="204" y="238"/>
                </a:cubicBezTo>
                <a:cubicBezTo>
                  <a:pt x="204" y="204"/>
                  <a:pt x="176" y="176"/>
                  <a:pt x="142" y="176"/>
                </a:cubicBezTo>
                <a:close/>
                <a:moveTo>
                  <a:pt x="142" y="278"/>
                </a:moveTo>
                <a:cubicBezTo>
                  <a:pt x="120" y="278"/>
                  <a:pt x="102" y="260"/>
                  <a:pt x="102" y="238"/>
                </a:cubicBezTo>
                <a:cubicBezTo>
                  <a:pt x="102" y="217"/>
                  <a:pt x="120" y="199"/>
                  <a:pt x="142" y="199"/>
                </a:cubicBezTo>
                <a:cubicBezTo>
                  <a:pt x="164" y="199"/>
                  <a:pt x="182" y="217"/>
                  <a:pt x="182" y="238"/>
                </a:cubicBezTo>
                <a:cubicBezTo>
                  <a:pt x="182" y="260"/>
                  <a:pt x="164" y="278"/>
                  <a:pt x="142" y="278"/>
                </a:cubicBezTo>
                <a:close/>
                <a:moveTo>
                  <a:pt x="572" y="89"/>
                </a:moveTo>
                <a:cubicBezTo>
                  <a:pt x="568" y="88"/>
                  <a:pt x="557" y="81"/>
                  <a:pt x="543" y="73"/>
                </a:cubicBezTo>
                <a:cubicBezTo>
                  <a:pt x="512" y="55"/>
                  <a:pt x="466" y="28"/>
                  <a:pt x="415" y="17"/>
                </a:cubicBezTo>
                <a:cubicBezTo>
                  <a:pt x="332" y="0"/>
                  <a:pt x="260" y="23"/>
                  <a:pt x="176" y="50"/>
                </a:cubicBezTo>
                <a:cubicBezTo>
                  <a:pt x="133" y="64"/>
                  <a:pt x="89" y="78"/>
                  <a:pt x="39" y="88"/>
                </a:cubicBezTo>
                <a:cubicBezTo>
                  <a:pt x="37" y="88"/>
                  <a:pt x="36" y="89"/>
                  <a:pt x="35" y="90"/>
                </a:cubicBezTo>
                <a:cubicBezTo>
                  <a:pt x="34" y="93"/>
                  <a:pt x="0" y="146"/>
                  <a:pt x="0" y="250"/>
                </a:cubicBezTo>
                <a:cubicBezTo>
                  <a:pt x="0" y="253"/>
                  <a:pt x="3" y="256"/>
                  <a:pt x="6" y="256"/>
                </a:cubicBezTo>
                <a:cubicBezTo>
                  <a:pt x="71" y="256"/>
                  <a:pt x="71" y="256"/>
                  <a:pt x="71" y="256"/>
                </a:cubicBezTo>
                <a:cubicBezTo>
                  <a:pt x="69" y="251"/>
                  <a:pt x="68" y="245"/>
                  <a:pt x="68" y="238"/>
                </a:cubicBezTo>
                <a:cubicBezTo>
                  <a:pt x="68" y="198"/>
                  <a:pt x="101" y="165"/>
                  <a:pt x="142" y="165"/>
                </a:cubicBezTo>
                <a:cubicBezTo>
                  <a:pt x="183" y="165"/>
                  <a:pt x="216" y="198"/>
                  <a:pt x="216" y="238"/>
                </a:cubicBezTo>
                <a:cubicBezTo>
                  <a:pt x="216" y="245"/>
                  <a:pt x="215" y="251"/>
                  <a:pt x="213" y="257"/>
                </a:cubicBezTo>
                <a:cubicBezTo>
                  <a:pt x="582" y="260"/>
                  <a:pt x="582" y="260"/>
                  <a:pt x="582" y="260"/>
                </a:cubicBezTo>
                <a:cubicBezTo>
                  <a:pt x="580" y="253"/>
                  <a:pt x="579" y="246"/>
                  <a:pt x="579" y="238"/>
                </a:cubicBezTo>
                <a:cubicBezTo>
                  <a:pt x="579" y="198"/>
                  <a:pt x="612" y="165"/>
                  <a:pt x="652" y="165"/>
                </a:cubicBezTo>
                <a:cubicBezTo>
                  <a:pt x="693" y="165"/>
                  <a:pt x="726" y="198"/>
                  <a:pt x="726" y="238"/>
                </a:cubicBezTo>
                <a:cubicBezTo>
                  <a:pt x="726" y="246"/>
                  <a:pt x="725" y="254"/>
                  <a:pt x="723" y="261"/>
                </a:cubicBezTo>
                <a:cubicBezTo>
                  <a:pt x="777" y="261"/>
                  <a:pt x="777" y="261"/>
                  <a:pt x="777" y="261"/>
                </a:cubicBezTo>
                <a:cubicBezTo>
                  <a:pt x="777" y="261"/>
                  <a:pt x="777" y="261"/>
                  <a:pt x="777" y="261"/>
                </a:cubicBezTo>
                <a:cubicBezTo>
                  <a:pt x="778" y="261"/>
                  <a:pt x="780" y="261"/>
                  <a:pt x="781" y="259"/>
                </a:cubicBezTo>
                <a:cubicBezTo>
                  <a:pt x="782" y="258"/>
                  <a:pt x="783" y="257"/>
                  <a:pt x="783" y="255"/>
                </a:cubicBezTo>
                <a:cubicBezTo>
                  <a:pt x="783" y="147"/>
                  <a:pt x="766" y="122"/>
                  <a:pt x="572" y="89"/>
                </a:cubicBezTo>
                <a:close/>
                <a:moveTo>
                  <a:pt x="505" y="108"/>
                </a:moveTo>
                <a:cubicBezTo>
                  <a:pt x="459" y="119"/>
                  <a:pt x="165" y="88"/>
                  <a:pt x="165" y="88"/>
                </a:cubicBezTo>
                <a:cubicBezTo>
                  <a:pt x="165" y="88"/>
                  <a:pt x="279" y="29"/>
                  <a:pt x="369" y="29"/>
                </a:cubicBezTo>
                <a:cubicBezTo>
                  <a:pt x="449" y="29"/>
                  <a:pt x="546" y="98"/>
                  <a:pt x="505" y="1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nvGrpSpPr>
          <p:cNvPr id="14" name="easyIcon">
            <a:extLst>
              <a:ext uri="{FF2B5EF4-FFF2-40B4-BE49-F238E27FC236}">
                <a16:creationId xmlns:a16="http://schemas.microsoft.com/office/drawing/2014/main" id="{4714A361-5DDE-C857-F3F1-73692BE33DD4}"/>
              </a:ext>
            </a:extLst>
          </p:cNvPr>
          <p:cNvGrpSpPr>
            <a:grpSpLocks noChangeAspect="1"/>
          </p:cNvGrpSpPr>
          <p:nvPr>
            <p:custDataLst>
              <p:tags r:id="rId1"/>
            </p:custDataLst>
          </p:nvPr>
        </p:nvGrpSpPr>
        <p:grpSpPr>
          <a:xfrm>
            <a:off x="3503460" y="-432321"/>
            <a:ext cx="4525036" cy="4525036"/>
            <a:chOff x="264263" y="4620411"/>
            <a:chExt cx="1524000" cy="1524000"/>
          </a:xfrm>
        </p:grpSpPr>
        <p:sp>
          <p:nvSpPr>
            <p:cNvPr id="18" name="backgroundFixed">
              <a:extLst>
                <a:ext uri="{FF2B5EF4-FFF2-40B4-BE49-F238E27FC236}">
                  <a16:creationId xmlns:a16="http://schemas.microsoft.com/office/drawing/2014/main" id="{55199FDE-3D5B-75FC-70E0-B27966588A1C}"/>
                </a:ext>
              </a:extLst>
            </p:cNvPr>
            <p:cNvSpPr/>
            <p:nvPr>
              <p:custDataLst>
                <p:tags r:id="rId15"/>
              </p:custDataLst>
            </p:nvPr>
          </p:nvSpPr>
          <p:spPr>
            <a:xfrm>
              <a:off x="264263" y="4620411"/>
              <a:ext cx="1524000" cy="152400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19" name="Vector">
              <a:extLst>
                <a:ext uri="{FF2B5EF4-FFF2-40B4-BE49-F238E27FC236}">
                  <a16:creationId xmlns:a16="http://schemas.microsoft.com/office/drawing/2014/main" id="{F435C0A8-A1F9-BB81-CFD3-AAE5FDF962F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bwMode="gray">
            <a:xfrm>
              <a:off x="264263" y="4620411"/>
              <a:ext cx="1524000" cy="1524000"/>
            </a:xfrm>
            <a:prstGeom prst="rect">
              <a:avLst/>
            </a:prstGeom>
          </p:spPr>
        </p:pic>
      </p:grpSp>
      <p:sp>
        <p:nvSpPr>
          <p:cNvPr id="9" name="backgroundFixed">
            <a:extLst>
              <a:ext uri="{FF2B5EF4-FFF2-40B4-BE49-F238E27FC236}">
                <a16:creationId xmlns:a16="http://schemas.microsoft.com/office/drawing/2014/main" id="{AC0DCCD0-77CB-A1EC-CA7D-374E44FBCAF3}"/>
              </a:ext>
            </a:extLst>
          </p:cNvPr>
          <p:cNvSpPr/>
          <p:nvPr>
            <p:custDataLst>
              <p:tags r:id="rId2"/>
            </p:custDataLst>
          </p:nvPr>
        </p:nvSpPr>
        <p:spPr>
          <a:xfrm>
            <a:off x="8028496" y="2930214"/>
            <a:ext cx="2385954" cy="2385954"/>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grpSp>
        <p:nvGrpSpPr>
          <p:cNvPr id="13" name="easyIcon">
            <a:extLst>
              <a:ext uri="{FF2B5EF4-FFF2-40B4-BE49-F238E27FC236}">
                <a16:creationId xmlns:a16="http://schemas.microsoft.com/office/drawing/2014/main" id="{B0B3735F-89BD-6321-11B7-2EC824C4664E}"/>
              </a:ext>
            </a:extLst>
          </p:cNvPr>
          <p:cNvGrpSpPr>
            <a:grpSpLocks noChangeAspect="1"/>
          </p:cNvGrpSpPr>
          <p:nvPr>
            <p:custDataLst>
              <p:tags r:id="rId3"/>
            </p:custDataLst>
          </p:nvPr>
        </p:nvGrpSpPr>
        <p:grpSpPr>
          <a:xfrm>
            <a:off x="7060255" y="848900"/>
            <a:ext cx="2108602" cy="1974358"/>
            <a:chOff x="5071472" y="1303000"/>
            <a:chExt cx="878916" cy="822960"/>
          </a:xfrm>
        </p:grpSpPr>
        <p:sp>
          <p:nvSpPr>
            <p:cNvPr id="16" name="backgroundFixed">
              <a:extLst>
                <a:ext uri="{FF2B5EF4-FFF2-40B4-BE49-F238E27FC236}">
                  <a16:creationId xmlns:a16="http://schemas.microsoft.com/office/drawing/2014/main" id="{6A97DF88-66B7-D3E5-CC7E-C9A9B6921158}"/>
                </a:ext>
              </a:extLst>
            </p:cNvPr>
            <p:cNvSpPr/>
            <p:nvPr>
              <p:custDataLst>
                <p:tags r:id="rId14"/>
              </p:custDataLst>
            </p:nvPr>
          </p:nvSpPr>
          <p:spPr>
            <a:xfrm>
              <a:off x="5127428" y="1303000"/>
              <a:ext cx="822960" cy="82296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endParaRPr lang="en-US" sz="1400" b="1" dirty="0">
                <a:solidFill>
                  <a:schemeClr val="bg1"/>
                </a:solidFill>
              </a:endParaRPr>
            </a:p>
          </p:txBody>
        </p:sp>
        <p:pic>
          <p:nvPicPr>
            <p:cNvPr id="21" name="Vector">
              <a:extLst>
                <a:ext uri="{FF2B5EF4-FFF2-40B4-BE49-F238E27FC236}">
                  <a16:creationId xmlns:a16="http://schemas.microsoft.com/office/drawing/2014/main" id="{AB302CEC-D7F8-9DBF-FF70-922EE196C664}"/>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bwMode="gray">
            <a:xfrm>
              <a:off x="5071472" y="1303000"/>
              <a:ext cx="822960" cy="822960"/>
            </a:xfrm>
            <a:prstGeom prst="rect">
              <a:avLst/>
            </a:prstGeom>
          </p:spPr>
        </p:pic>
      </p:grpSp>
      <p:sp>
        <p:nvSpPr>
          <p:cNvPr id="27" name="TextBox 26">
            <a:extLst>
              <a:ext uri="{FF2B5EF4-FFF2-40B4-BE49-F238E27FC236}">
                <a16:creationId xmlns:a16="http://schemas.microsoft.com/office/drawing/2014/main" id="{4149F82C-164B-DD0A-F307-903BF12FE3D0}"/>
              </a:ext>
            </a:extLst>
          </p:cNvPr>
          <p:cNvSpPr txBox="1"/>
          <p:nvPr/>
        </p:nvSpPr>
        <p:spPr>
          <a:xfrm>
            <a:off x="4914804" y="2283959"/>
            <a:ext cx="1723118" cy="335413"/>
          </a:xfrm>
          <a:prstGeom prst="rect">
            <a:avLst/>
          </a:prstGeom>
          <a:noFill/>
        </p:spPr>
        <p:txBody>
          <a:bodyPr wrap="square" lIns="0" tIns="0" rIns="0" bIns="0" rtlCol="0">
            <a:spAutoFit/>
          </a:bodyPr>
          <a:lstStyle/>
          <a:p>
            <a:pPr algn="l">
              <a:lnSpc>
                <a:spcPct val="120000"/>
              </a:lnSpc>
              <a:spcBef>
                <a:spcPts val="800"/>
              </a:spcBef>
            </a:pPr>
            <a:r>
              <a:rPr lang="en-US" sz="2000" dirty="0"/>
              <a:t>Backend APIs</a:t>
            </a:r>
          </a:p>
        </p:txBody>
      </p:sp>
      <p:sp>
        <p:nvSpPr>
          <p:cNvPr id="30" name="TextBox 29">
            <a:extLst>
              <a:ext uri="{FF2B5EF4-FFF2-40B4-BE49-F238E27FC236}">
                <a16:creationId xmlns:a16="http://schemas.microsoft.com/office/drawing/2014/main" id="{F9F0D038-A030-C5C8-4008-8A711FB1A347}"/>
              </a:ext>
            </a:extLst>
          </p:cNvPr>
          <p:cNvSpPr txBox="1"/>
          <p:nvPr/>
        </p:nvSpPr>
        <p:spPr>
          <a:xfrm>
            <a:off x="10141876" y="2313136"/>
            <a:ext cx="1723118" cy="335413"/>
          </a:xfrm>
          <a:prstGeom prst="rect">
            <a:avLst/>
          </a:prstGeom>
          <a:noFill/>
        </p:spPr>
        <p:txBody>
          <a:bodyPr wrap="square" lIns="0" tIns="0" rIns="0" bIns="0" rtlCol="0">
            <a:spAutoFit/>
          </a:bodyPr>
          <a:lstStyle/>
          <a:p>
            <a:pPr algn="l">
              <a:lnSpc>
                <a:spcPct val="120000"/>
              </a:lnSpc>
              <a:spcBef>
                <a:spcPts val="800"/>
              </a:spcBef>
            </a:pPr>
            <a:r>
              <a:rPr lang="en-US" sz="2000" dirty="0"/>
              <a:t>Dealer</a:t>
            </a:r>
          </a:p>
        </p:txBody>
      </p:sp>
      <p:cxnSp>
        <p:nvCxnSpPr>
          <p:cNvPr id="31" name="Straight Arrow Connector 30">
            <a:extLst>
              <a:ext uri="{FF2B5EF4-FFF2-40B4-BE49-F238E27FC236}">
                <a16:creationId xmlns:a16="http://schemas.microsoft.com/office/drawing/2014/main" id="{30EAB424-90AD-7576-E824-2812C7359463}"/>
              </a:ext>
            </a:extLst>
          </p:cNvPr>
          <p:cNvCxnSpPr>
            <a:cxnSpLocks/>
          </p:cNvCxnSpPr>
          <p:nvPr/>
        </p:nvCxnSpPr>
        <p:spPr>
          <a:xfrm flipH="1">
            <a:off x="8726139" y="1792578"/>
            <a:ext cx="1104358"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FDF0E08F-C9DC-F391-528E-2BC8EFE33F30}"/>
              </a:ext>
            </a:extLst>
          </p:cNvPr>
          <p:cNvSpPr txBox="1"/>
          <p:nvPr/>
        </p:nvSpPr>
        <p:spPr>
          <a:xfrm>
            <a:off x="7150193" y="898045"/>
            <a:ext cx="2117528" cy="335413"/>
          </a:xfrm>
          <a:prstGeom prst="rect">
            <a:avLst/>
          </a:prstGeom>
          <a:noFill/>
        </p:spPr>
        <p:txBody>
          <a:bodyPr wrap="square" lIns="0" tIns="0" rIns="0" bIns="0" rtlCol="0">
            <a:spAutoFit/>
          </a:bodyPr>
          <a:lstStyle/>
          <a:p>
            <a:pPr algn="l">
              <a:lnSpc>
                <a:spcPct val="120000"/>
              </a:lnSpc>
              <a:spcBef>
                <a:spcPts val="800"/>
              </a:spcBef>
            </a:pPr>
            <a:r>
              <a:rPr lang="en-US" sz="2000" dirty="0"/>
              <a:t>Dealer Web Portal</a:t>
            </a:r>
          </a:p>
        </p:txBody>
      </p:sp>
      <p:grpSp>
        <p:nvGrpSpPr>
          <p:cNvPr id="46" name="Group 45">
            <a:extLst>
              <a:ext uri="{FF2B5EF4-FFF2-40B4-BE49-F238E27FC236}">
                <a16:creationId xmlns:a16="http://schemas.microsoft.com/office/drawing/2014/main" id="{178C7407-FD4C-58EA-6F75-4255B7011BD6}"/>
              </a:ext>
            </a:extLst>
          </p:cNvPr>
          <p:cNvGrpSpPr/>
          <p:nvPr/>
        </p:nvGrpSpPr>
        <p:grpSpPr>
          <a:xfrm>
            <a:off x="9926790" y="794914"/>
            <a:ext cx="1179689" cy="1736618"/>
            <a:chOff x="9866500" y="792654"/>
            <a:chExt cx="1179689" cy="1736618"/>
          </a:xfrm>
        </p:grpSpPr>
        <p:grpSp>
          <p:nvGrpSpPr>
            <p:cNvPr id="40" name="easyIcon">
              <a:extLst>
                <a:ext uri="{FF2B5EF4-FFF2-40B4-BE49-F238E27FC236}">
                  <a16:creationId xmlns:a16="http://schemas.microsoft.com/office/drawing/2014/main" id="{01FEAC8C-CA06-B1C2-758C-D12A68B9FAA7}"/>
                </a:ext>
              </a:extLst>
            </p:cNvPr>
            <p:cNvGrpSpPr>
              <a:grpSpLocks noChangeAspect="1"/>
            </p:cNvGrpSpPr>
            <p:nvPr>
              <p:custDataLst>
                <p:tags r:id="rId10"/>
              </p:custDataLst>
            </p:nvPr>
          </p:nvGrpSpPr>
          <p:grpSpPr>
            <a:xfrm>
              <a:off x="9893748" y="1376831"/>
              <a:ext cx="1152441" cy="1152441"/>
              <a:chOff x="3791869" y="2158867"/>
              <a:chExt cx="721099" cy="721099"/>
            </a:xfrm>
          </p:grpSpPr>
          <p:sp>
            <p:nvSpPr>
              <p:cNvPr id="41" name="backgroundFixed">
                <a:extLst>
                  <a:ext uri="{FF2B5EF4-FFF2-40B4-BE49-F238E27FC236}">
                    <a16:creationId xmlns:a16="http://schemas.microsoft.com/office/drawing/2014/main" id="{3554657E-5A3B-94A7-30BF-C3B5922E0B81}"/>
                  </a:ext>
                </a:extLst>
              </p:cNvPr>
              <p:cNvSpPr/>
              <p:nvPr>
                <p:custDataLst>
                  <p:tags r:id="rId13"/>
                </p:custDataLst>
              </p:nvPr>
            </p:nvSpPr>
            <p:spPr>
              <a:xfrm>
                <a:off x="3791869" y="2158867"/>
                <a:ext cx="721099" cy="721099"/>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42" name="Vector">
                <a:extLst>
                  <a:ext uri="{FF2B5EF4-FFF2-40B4-BE49-F238E27FC236}">
                    <a16:creationId xmlns:a16="http://schemas.microsoft.com/office/drawing/2014/main" id="{A9F67995-0137-BFE7-2310-1824C167E202}"/>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bwMode="gray">
              <a:xfrm>
                <a:off x="3791869" y="2158867"/>
                <a:ext cx="721099" cy="721099"/>
              </a:xfrm>
              <a:prstGeom prst="rect">
                <a:avLst/>
              </a:prstGeom>
            </p:spPr>
          </p:pic>
        </p:grpSp>
        <p:grpSp>
          <p:nvGrpSpPr>
            <p:cNvPr id="43" name="easyIcon">
              <a:extLst>
                <a:ext uri="{FF2B5EF4-FFF2-40B4-BE49-F238E27FC236}">
                  <a16:creationId xmlns:a16="http://schemas.microsoft.com/office/drawing/2014/main" id="{2A279F24-3854-0BE1-A1AA-FE6784B4D658}"/>
                </a:ext>
              </a:extLst>
            </p:cNvPr>
            <p:cNvGrpSpPr>
              <a:grpSpLocks noChangeAspect="1"/>
            </p:cNvGrpSpPr>
            <p:nvPr>
              <p:custDataLst>
                <p:tags r:id="rId11"/>
              </p:custDataLst>
            </p:nvPr>
          </p:nvGrpSpPr>
          <p:grpSpPr>
            <a:xfrm>
              <a:off x="9866500" y="792654"/>
              <a:ext cx="1152441" cy="1152441"/>
              <a:chOff x="575668" y="1150755"/>
              <a:chExt cx="721100" cy="721100"/>
            </a:xfrm>
          </p:grpSpPr>
          <p:sp>
            <p:nvSpPr>
              <p:cNvPr id="44" name="backgroundFixed">
                <a:extLst>
                  <a:ext uri="{FF2B5EF4-FFF2-40B4-BE49-F238E27FC236}">
                    <a16:creationId xmlns:a16="http://schemas.microsoft.com/office/drawing/2014/main" id="{2DCAC3A5-FDD6-0A70-A709-DA689C8BCF6E}"/>
                  </a:ext>
                </a:extLst>
              </p:cNvPr>
              <p:cNvSpPr/>
              <p:nvPr>
                <p:custDataLst>
                  <p:tags r:id="rId12"/>
                </p:custDataLst>
              </p:nvPr>
            </p:nvSpPr>
            <p:spPr>
              <a:xfrm>
                <a:off x="575668" y="1150755"/>
                <a:ext cx="721100" cy="72110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45" name="Vector">
                <a:extLst>
                  <a:ext uri="{FF2B5EF4-FFF2-40B4-BE49-F238E27FC236}">
                    <a16:creationId xmlns:a16="http://schemas.microsoft.com/office/drawing/2014/main" id="{B3602CDF-7984-68FE-8606-C745AE4ED875}"/>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bwMode="gray">
              <a:xfrm>
                <a:off x="575668" y="1150755"/>
                <a:ext cx="721100" cy="721100"/>
              </a:xfrm>
              <a:prstGeom prst="rect">
                <a:avLst/>
              </a:prstGeom>
            </p:spPr>
          </p:pic>
        </p:grpSp>
      </p:grpSp>
      <p:sp>
        <p:nvSpPr>
          <p:cNvPr id="47" name="Oval 46">
            <a:extLst>
              <a:ext uri="{FF2B5EF4-FFF2-40B4-BE49-F238E27FC236}">
                <a16:creationId xmlns:a16="http://schemas.microsoft.com/office/drawing/2014/main" id="{0A770304-B2BB-4272-FFE4-DB12E61632E6}"/>
              </a:ext>
            </a:extLst>
          </p:cNvPr>
          <p:cNvSpPr/>
          <p:nvPr/>
        </p:nvSpPr>
        <p:spPr>
          <a:xfrm>
            <a:off x="4399793" y="1988682"/>
            <a:ext cx="2651683" cy="982859"/>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48" name="Oval 47">
            <a:extLst>
              <a:ext uri="{FF2B5EF4-FFF2-40B4-BE49-F238E27FC236}">
                <a16:creationId xmlns:a16="http://schemas.microsoft.com/office/drawing/2014/main" id="{67809ABF-6520-7FC0-AE07-FB66E02B02AC}"/>
              </a:ext>
            </a:extLst>
          </p:cNvPr>
          <p:cNvSpPr/>
          <p:nvPr/>
        </p:nvSpPr>
        <p:spPr>
          <a:xfrm>
            <a:off x="6798947" y="540704"/>
            <a:ext cx="2651683" cy="982859"/>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23" name="TextBox 22">
            <a:extLst>
              <a:ext uri="{FF2B5EF4-FFF2-40B4-BE49-F238E27FC236}">
                <a16:creationId xmlns:a16="http://schemas.microsoft.com/office/drawing/2014/main" id="{166E9421-459F-E444-C3A9-2591C0469924}"/>
              </a:ext>
            </a:extLst>
          </p:cNvPr>
          <p:cNvSpPr txBox="1"/>
          <p:nvPr/>
        </p:nvSpPr>
        <p:spPr>
          <a:xfrm>
            <a:off x="9890663" y="3882490"/>
            <a:ext cx="1723118" cy="335413"/>
          </a:xfrm>
          <a:prstGeom prst="rect">
            <a:avLst/>
          </a:prstGeom>
          <a:noFill/>
        </p:spPr>
        <p:txBody>
          <a:bodyPr wrap="square" lIns="0" tIns="0" rIns="0" bIns="0" rtlCol="0">
            <a:spAutoFit/>
          </a:bodyPr>
          <a:lstStyle/>
          <a:p>
            <a:pPr algn="l">
              <a:lnSpc>
                <a:spcPct val="120000"/>
              </a:lnSpc>
              <a:spcBef>
                <a:spcPts val="800"/>
              </a:spcBef>
            </a:pPr>
            <a:r>
              <a:rPr lang="en-US" sz="2000" dirty="0"/>
              <a:t>Fake Dealer</a:t>
            </a:r>
          </a:p>
        </p:txBody>
      </p:sp>
      <p:sp>
        <p:nvSpPr>
          <p:cNvPr id="24" name="Oval 23">
            <a:extLst>
              <a:ext uri="{FF2B5EF4-FFF2-40B4-BE49-F238E27FC236}">
                <a16:creationId xmlns:a16="http://schemas.microsoft.com/office/drawing/2014/main" id="{2DF702DE-5263-7256-8413-D6B173B918E8}"/>
              </a:ext>
            </a:extLst>
          </p:cNvPr>
          <p:cNvSpPr/>
          <p:nvPr/>
        </p:nvSpPr>
        <p:spPr>
          <a:xfrm>
            <a:off x="9729391" y="2985707"/>
            <a:ext cx="394798" cy="39479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tIns="18288" rIns="144000" bIns="144000" rtlCol="0" anchor="t"/>
          <a:lstStyle/>
          <a:p>
            <a:pPr algn="l">
              <a:spcBef>
                <a:spcPts val="800"/>
              </a:spcBef>
            </a:pPr>
            <a:r>
              <a:rPr lang="en-US" sz="1600" dirty="0"/>
              <a:t>1</a:t>
            </a:r>
          </a:p>
        </p:txBody>
      </p:sp>
      <p:cxnSp>
        <p:nvCxnSpPr>
          <p:cNvPr id="26" name="Straight Arrow Connector 25">
            <a:extLst>
              <a:ext uri="{FF2B5EF4-FFF2-40B4-BE49-F238E27FC236}">
                <a16:creationId xmlns:a16="http://schemas.microsoft.com/office/drawing/2014/main" id="{5FF31688-8B44-4424-215C-733ABFD938B7}"/>
              </a:ext>
            </a:extLst>
          </p:cNvPr>
          <p:cNvCxnSpPr>
            <a:cxnSpLocks/>
          </p:cNvCxnSpPr>
          <p:nvPr/>
        </p:nvCxnSpPr>
        <p:spPr>
          <a:xfrm flipH="1" flipV="1">
            <a:off x="8709766" y="2184720"/>
            <a:ext cx="1398050" cy="740100"/>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4393A4D7-C8DA-12C9-AAA5-CE39AAE51F76}"/>
              </a:ext>
            </a:extLst>
          </p:cNvPr>
          <p:cNvCxnSpPr>
            <a:cxnSpLocks/>
          </p:cNvCxnSpPr>
          <p:nvPr/>
        </p:nvCxnSpPr>
        <p:spPr>
          <a:xfrm flipH="1">
            <a:off x="7150193" y="2400994"/>
            <a:ext cx="1238343" cy="0"/>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4AC5BB99-527C-9A74-F6F0-F28ADC9C195D}"/>
              </a:ext>
            </a:extLst>
          </p:cNvPr>
          <p:cNvSpPr/>
          <p:nvPr/>
        </p:nvSpPr>
        <p:spPr>
          <a:xfrm>
            <a:off x="7824617" y="2489918"/>
            <a:ext cx="394798" cy="39479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tIns="18288" rIns="144000" bIns="144000" rtlCol="0" anchor="t"/>
          <a:lstStyle/>
          <a:p>
            <a:pPr algn="l">
              <a:spcBef>
                <a:spcPts val="800"/>
              </a:spcBef>
            </a:pPr>
            <a:r>
              <a:rPr lang="en-US" sz="1600" dirty="0"/>
              <a:t>2</a:t>
            </a:r>
          </a:p>
        </p:txBody>
      </p:sp>
      <p:sp>
        <p:nvSpPr>
          <p:cNvPr id="49" name="TextBox 48">
            <a:extLst>
              <a:ext uri="{FF2B5EF4-FFF2-40B4-BE49-F238E27FC236}">
                <a16:creationId xmlns:a16="http://schemas.microsoft.com/office/drawing/2014/main" id="{538ACDF2-212C-5DE0-7331-B92A4C9374C9}"/>
              </a:ext>
            </a:extLst>
          </p:cNvPr>
          <p:cNvSpPr txBox="1"/>
          <p:nvPr/>
        </p:nvSpPr>
        <p:spPr>
          <a:xfrm>
            <a:off x="6309384" y="3114915"/>
            <a:ext cx="1515234" cy="1860509"/>
          </a:xfrm>
          <a:prstGeom prst="rect">
            <a:avLst/>
          </a:prstGeom>
          <a:noFill/>
          <a:ln>
            <a:solidFill>
              <a:srgbClr val="001A54"/>
            </a:solidFill>
          </a:ln>
        </p:spPr>
        <p:txBody>
          <a:bodyPr wrap="square" lIns="54864" tIns="0" rIns="0" bIns="0" rtlCol="0">
            <a:spAutoFit/>
          </a:bodyPr>
          <a:lstStyle/>
          <a:p>
            <a:pPr algn="l">
              <a:lnSpc>
                <a:spcPct val="120000"/>
              </a:lnSpc>
              <a:spcBef>
                <a:spcPts val="800"/>
              </a:spcBef>
            </a:pPr>
            <a:r>
              <a:rPr lang="en-US" sz="1600" dirty="0"/>
              <a:t>API_call0()</a:t>
            </a:r>
          </a:p>
          <a:p>
            <a:pPr algn="l">
              <a:lnSpc>
                <a:spcPct val="120000"/>
              </a:lnSpc>
              <a:spcBef>
                <a:spcPts val="800"/>
              </a:spcBef>
            </a:pPr>
            <a:r>
              <a:rPr lang="en-US" sz="1600" dirty="0"/>
              <a:t>API_call1()</a:t>
            </a:r>
          </a:p>
          <a:p>
            <a:pPr algn="l">
              <a:lnSpc>
                <a:spcPct val="120000"/>
              </a:lnSpc>
              <a:spcBef>
                <a:spcPts val="800"/>
              </a:spcBef>
            </a:pPr>
            <a:r>
              <a:rPr lang="en-US" sz="1600" dirty="0"/>
              <a:t>API_call2()</a:t>
            </a:r>
          </a:p>
          <a:p>
            <a:pPr algn="l">
              <a:lnSpc>
                <a:spcPct val="120000"/>
              </a:lnSpc>
              <a:spcBef>
                <a:spcPts val="800"/>
              </a:spcBef>
            </a:pPr>
            <a:r>
              <a:rPr lang="en-US" sz="1600" dirty="0" err="1">
                <a:solidFill>
                  <a:srgbClr val="C00000"/>
                </a:solidFill>
              </a:rPr>
              <a:t>assign_owner</a:t>
            </a:r>
            <a:r>
              <a:rPr lang="en-US" sz="1600" dirty="0">
                <a:solidFill>
                  <a:srgbClr val="C00000"/>
                </a:solidFill>
              </a:rPr>
              <a:t>()</a:t>
            </a:r>
          </a:p>
          <a:p>
            <a:pPr algn="l">
              <a:lnSpc>
                <a:spcPct val="120000"/>
              </a:lnSpc>
              <a:spcBef>
                <a:spcPts val="800"/>
              </a:spcBef>
            </a:pPr>
            <a:r>
              <a:rPr lang="en-US" sz="1600" dirty="0">
                <a:solidFill>
                  <a:srgbClr val="C00000"/>
                </a:solidFill>
              </a:rPr>
              <a:t>…</a:t>
            </a:r>
          </a:p>
        </p:txBody>
      </p:sp>
      <p:sp>
        <p:nvSpPr>
          <p:cNvPr id="53" name="TextBox 52">
            <a:extLst>
              <a:ext uri="{FF2B5EF4-FFF2-40B4-BE49-F238E27FC236}">
                <a16:creationId xmlns:a16="http://schemas.microsoft.com/office/drawing/2014/main" id="{343072AC-2E7E-8D3E-92DE-03455EA3AAF7}"/>
              </a:ext>
            </a:extLst>
          </p:cNvPr>
          <p:cNvSpPr txBox="1"/>
          <p:nvPr/>
        </p:nvSpPr>
        <p:spPr>
          <a:xfrm>
            <a:off x="4290851" y="4939427"/>
            <a:ext cx="1942778" cy="335413"/>
          </a:xfrm>
          <a:prstGeom prst="rect">
            <a:avLst/>
          </a:prstGeom>
          <a:noFill/>
        </p:spPr>
        <p:txBody>
          <a:bodyPr wrap="square" lIns="0" tIns="0" rIns="0" bIns="0" rtlCol="0">
            <a:spAutoFit/>
          </a:bodyPr>
          <a:lstStyle/>
          <a:p>
            <a:pPr algn="l">
              <a:lnSpc>
                <a:spcPct val="120000"/>
              </a:lnSpc>
              <a:spcBef>
                <a:spcPts val="800"/>
              </a:spcBef>
            </a:pPr>
            <a:r>
              <a:rPr lang="en-US" sz="2000" dirty="0"/>
              <a:t>Attacker Account</a:t>
            </a:r>
          </a:p>
        </p:txBody>
      </p:sp>
      <p:sp>
        <p:nvSpPr>
          <p:cNvPr id="54" name="Oval 53">
            <a:extLst>
              <a:ext uri="{FF2B5EF4-FFF2-40B4-BE49-F238E27FC236}">
                <a16:creationId xmlns:a16="http://schemas.microsoft.com/office/drawing/2014/main" id="{B295A2F3-F01E-D6CD-CA66-C2BE071202EC}"/>
              </a:ext>
            </a:extLst>
          </p:cNvPr>
          <p:cNvSpPr/>
          <p:nvPr/>
        </p:nvSpPr>
        <p:spPr>
          <a:xfrm>
            <a:off x="2558519" y="2191741"/>
            <a:ext cx="394798" cy="39479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tIns="18288" rIns="144000" bIns="144000" rtlCol="0" anchor="t"/>
          <a:lstStyle/>
          <a:p>
            <a:pPr algn="l">
              <a:spcBef>
                <a:spcPts val="800"/>
              </a:spcBef>
            </a:pPr>
            <a:r>
              <a:rPr lang="en-US" sz="1600" dirty="0"/>
              <a:t>3</a:t>
            </a:r>
          </a:p>
        </p:txBody>
      </p:sp>
      <p:pic>
        <p:nvPicPr>
          <p:cNvPr id="55" name="Graphic 54" descr="Devil face with solid fill with solid fill">
            <a:extLst>
              <a:ext uri="{FF2B5EF4-FFF2-40B4-BE49-F238E27FC236}">
                <a16:creationId xmlns:a16="http://schemas.microsoft.com/office/drawing/2014/main" id="{4A4B82DF-C31F-A5A3-4BFD-909F55DC9926}"/>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5683354" y="4504316"/>
            <a:ext cx="435110" cy="435110"/>
          </a:xfrm>
          <a:prstGeom prst="rect">
            <a:avLst/>
          </a:prstGeom>
        </p:spPr>
      </p:pic>
      <p:grpSp>
        <p:nvGrpSpPr>
          <p:cNvPr id="56" name="Group 55">
            <a:extLst>
              <a:ext uri="{FF2B5EF4-FFF2-40B4-BE49-F238E27FC236}">
                <a16:creationId xmlns:a16="http://schemas.microsoft.com/office/drawing/2014/main" id="{17775B42-E831-8355-47E8-495EB22921F3}"/>
              </a:ext>
            </a:extLst>
          </p:cNvPr>
          <p:cNvGrpSpPr/>
          <p:nvPr/>
        </p:nvGrpSpPr>
        <p:grpSpPr>
          <a:xfrm>
            <a:off x="9926790" y="2423349"/>
            <a:ext cx="1179689" cy="1736618"/>
            <a:chOff x="9866500" y="792654"/>
            <a:chExt cx="1179689" cy="1736618"/>
          </a:xfrm>
        </p:grpSpPr>
        <p:grpSp>
          <p:nvGrpSpPr>
            <p:cNvPr id="57" name="easyIcon">
              <a:extLst>
                <a:ext uri="{FF2B5EF4-FFF2-40B4-BE49-F238E27FC236}">
                  <a16:creationId xmlns:a16="http://schemas.microsoft.com/office/drawing/2014/main" id="{80D28DCB-5C57-B260-A3CD-D2F9031AF0BD}"/>
                </a:ext>
              </a:extLst>
            </p:cNvPr>
            <p:cNvGrpSpPr>
              <a:grpSpLocks noChangeAspect="1"/>
            </p:cNvGrpSpPr>
            <p:nvPr>
              <p:custDataLst>
                <p:tags r:id="rId6"/>
              </p:custDataLst>
            </p:nvPr>
          </p:nvGrpSpPr>
          <p:grpSpPr>
            <a:xfrm>
              <a:off x="9893748" y="1376831"/>
              <a:ext cx="1152441" cy="1152441"/>
              <a:chOff x="3791869" y="2158867"/>
              <a:chExt cx="721099" cy="721099"/>
            </a:xfrm>
          </p:grpSpPr>
          <p:sp>
            <p:nvSpPr>
              <p:cNvPr id="61" name="backgroundFixed">
                <a:extLst>
                  <a:ext uri="{FF2B5EF4-FFF2-40B4-BE49-F238E27FC236}">
                    <a16:creationId xmlns:a16="http://schemas.microsoft.com/office/drawing/2014/main" id="{153BC67B-9A35-8C92-01BA-CDA696B75486}"/>
                  </a:ext>
                </a:extLst>
              </p:cNvPr>
              <p:cNvSpPr/>
              <p:nvPr>
                <p:custDataLst>
                  <p:tags r:id="rId9"/>
                </p:custDataLst>
              </p:nvPr>
            </p:nvSpPr>
            <p:spPr>
              <a:xfrm>
                <a:off x="3791869" y="2158867"/>
                <a:ext cx="721099" cy="721099"/>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62" name="Vector">
                <a:extLst>
                  <a:ext uri="{FF2B5EF4-FFF2-40B4-BE49-F238E27FC236}">
                    <a16:creationId xmlns:a16="http://schemas.microsoft.com/office/drawing/2014/main" id="{0025422F-F4D8-62EC-0AAE-EFD2F086D5E3}"/>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bwMode="gray">
              <a:xfrm>
                <a:off x="3791869" y="2158867"/>
                <a:ext cx="721099" cy="721099"/>
              </a:xfrm>
              <a:prstGeom prst="rect">
                <a:avLst/>
              </a:prstGeom>
            </p:spPr>
          </p:pic>
        </p:grpSp>
        <p:grpSp>
          <p:nvGrpSpPr>
            <p:cNvPr id="58" name="easyIcon">
              <a:extLst>
                <a:ext uri="{FF2B5EF4-FFF2-40B4-BE49-F238E27FC236}">
                  <a16:creationId xmlns:a16="http://schemas.microsoft.com/office/drawing/2014/main" id="{F053A8FE-6637-1518-AE88-EC11D2A07FF6}"/>
                </a:ext>
              </a:extLst>
            </p:cNvPr>
            <p:cNvGrpSpPr>
              <a:grpSpLocks noChangeAspect="1"/>
            </p:cNvGrpSpPr>
            <p:nvPr>
              <p:custDataLst>
                <p:tags r:id="rId7"/>
              </p:custDataLst>
            </p:nvPr>
          </p:nvGrpSpPr>
          <p:grpSpPr>
            <a:xfrm>
              <a:off x="9866500" y="792654"/>
              <a:ext cx="1152441" cy="1152441"/>
              <a:chOff x="575668" y="1150755"/>
              <a:chExt cx="721100" cy="721100"/>
            </a:xfrm>
          </p:grpSpPr>
          <p:sp>
            <p:nvSpPr>
              <p:cNvPr id="59" name="backgroundFixed">
                <a:extLst>
                  <a:ext uri="{FF2B5EF4-FFF2-40B4-BE49-F238E27FC236}">
                    <a16:creationId xmlns:a16="http://schemas.microsoft.com/office/drawing/2014/main" id="{07E7456E-ABBE-77A5-6D00-78F586FD6712}"/>
                  </a:ext>
                </a:extLst>
              </p:cNvPr>
              <p:cNvSpPr/>
              <p:nvPr>
                <p:custDataLst>
                  <p:tags r:id="rId8"/>
                </p:custDataLst>
              </p:nvPr>
            </p:nvSpPr>
            <p:spPr>
              <a:xfrm>
                <a:off x="575668" y="1150755"/>
                <a:ext cx="721100" cy="72110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60" name="Vector">
                <a:extLst>
                  <a:ext uri="{FF2B5EF4-FFF2-40B4-BE49-F238E27FC236}">
                    <a16:creationId xmlns:a16="http://schemas.microsoft.com/office/drawing/2014/main" id="{2A1D6431-9D08-1753-5C3B-235C0C48D146}"/>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bwMode="gray">
              <a:xfrm>
                <a:off x="575668" y="1150755"/>
                <a:ext cx="721100" cy="721100"/>
              </a:xfrm>
              <a:prstGeom prst="rect">
                <a:avLst/>
              </a:prstGeom>
            </p:spPr>
          </p:pic>
        </p:grpSp>
      </p:grpSp>
      <p:pic>
        <p:nvPicPr>
          <p:cNvPr id="63" name="Graphic 62" descr="Devil face with solid fill with solid fill">
            <a:extLst>
              <a:ext uri="{FF2B5EF4-FFF2-40B4-BE49-F238E27FC236}">
                <a16:creationId xmlns:a16="http://schemas.microsoft.com/office/drawing/2014/main" id="{21538D49-8229-16DA-E90C-0E571A06144D}"/>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796560" y="3487856"/>
            <a:ext cx="435110" cy="435110"/>
          </a:xfrm>
          <a:prstGeom prst="rect">
            <a:avLst/>
          </a:prstGeom>
        </p:spPr>
      </p:pic>
      <p:graphicFrame>
        <p:nvGraphicFramePr>
          <p:cNvPr id="64" name="Table 63">
            <a:extLst>
              <a:ext uri="{FF2B5EF4-FFF2-40B4-BE49-F238E27FC236}">
                <a16:creationId xmlns:a16="http://schemas.microsoft.com/office/drawing/2014/main" id="{48882885-4DA0-BB35-7EF6-CF6960536B10}"/>
              </a:ext>
            </a:extLst>
          </p:cNvPr>
          <p:cNvGraphicFramePr>
            <a:graphicFrameLocks noGrp="1"/>
          </p:cNvGraphicFramePr>
          <p:nvPr>
            <p:extLst>
              <p:ext uri="{D42A27DB-BD31-4B8C-83A1-F6EECF244321}">
                <p14:modId xmlns:p14="http://schemas.microsoft.com/office/powerpoint/2010/main" val="602429349"/>
              </p:ext>
            </p:extLst>
          </p:nvPr>
        </p:nvGraphicFramePr>
        <p:xfrm>
          <a:off x="82405" y="919532"/>
          <a:ext cx="4051002" cy="1230882"/>
        </p:xfrm>
        <a:graphic>
          <a:graphicData uri="http://schemas.openxmlformats.org/drawingml/2006/table">
            <a:tbl>
              <a:tblPr firstRow="1" bandRow="1">
                <a:tableStyleId>{5C22544A-7EE6-4342-B048-85BDC9FD1C3A}</a:tableStyleId>
              </a:tblPr>
              <a:tblGrid>
                <a:gridCol w="2123566">
                  <a:extLst>
                    <a:ext uri="{9D8B030D-6E8A-4147-A177-3AD203B41FA5}">
                      <a16:colId xmlns:a16="http://schemas.microsoft.com/office/drawing/2014/main" val="781408958"/>
                    </a:ext>
                  </a:extLst>
                </a:gridCol>
                <a:gridCol w="1927436">
                  <a:extLst>
                    <a:ext uri="{9D8B030D-6E8A-4147-A177-3AD203B41FA5}">
                      <a16:colId xmlns:a16="http://schemas.microsoft.com/office/drawing/2014/main" val="172750854"/>
                    </a:ext>
                  </a:extLst>
                </a:gridCol>
              </a:tblGrid>
              <a:tr h="310641">
                <a:tc>
                  <a:txBody>
                    <a:bodyPr/>
                    <a:lstStyle/>
                    <a:p>
                      <a:r>
                        <a:rPr lang="en-US" sz="1400" dirty="0"/>
                        <a:t>VIN</a:t>
                      </a:r>
                    </a:p>
                  </a:txBody>
                  <a:tcPr/>
                </a:tc>
                <a:tc>
                  <a:txBody>
                    <a:bodyPr/>
                    <a:lstStyle/>
                    <a:p>
                      <a:r>
                        <a:rPr lang="en-US" sz="1400" dirty="0"/>
                        <a:t>Owner</a:t>
                      </a:r>
                    </a:p>
                  </a:txBody>
                  <a:tcPr/>
                </a:tc>
                <a:extLst>
                  <a:ext uri="{0D108BD9-81ED-4DB2-BD59-A6C34878D82A}">
                    <a16:rowId xmlns:a16="http://schemas.microsoft.com/office/drawing/2014/main" val="4230815711"/>
                  </a:ext>
                </a:extLst>
              </a:tr>
              <a:tr h="267677">
                <a:tc>
                  <a: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3C4PDDBGXET197449</a:t>
                      </a:r>
                    </a:p>
                  </a:txBody>
                  <a:tcPr/>
                </a:tc>
                <a:tc>
                  <a:txBody>
                    <a:bodyPr/>
                    <a:lstStyle/>
                    <a:p>
                      <a:r>
                        <a:rPr lang="en-US" sz="1400" dirty="0" err="1"/>
                        <a:t>User_A</a:t>
                      </a:r>
                      <a:endParaRPr lang="en-US" sz="1400" dirty="0"/>
                    </a:p>
                  </a:txBody>
                  <a:tcPr/>
                </a:tc>
                <a:extLst>
                  <a:ext uri="{0D108BD9-81ED-4DB2-BD59-A6C34878D82A}">
                    <a16:rowId xmlns:a16="http://schemas.microsoft.com/office/drawing/2014/main" val="1360482526"/>
                  </a:ext>
                </a:extLst>
              </a:tr>
              <a:tr h="267677">
                <a:tc>
                  <a: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1GHDT13S222114062</a:t>
                      </a:r>
                    </a:p>
                  </a:txBody>
                  <a:tcPr/>
                </a:tc>
                <a:tc>
                  <a:txBody>
                    <a:bodyPr/>
                    <a:lstStyle/>
                    <a:p>
                      <a:r>
                        <a:rPr lang="en-US" sz="1400" dirty="0" err="1"/>
                        <a:t>User_B</a:t>
                      </a:r>
                      <a:endParaRPr lang="en-US" sz="1400" dirty="0"/>
                    </a:p>
                  </a:txBody>
                  <a:tcPr/>
                </a:tc>
                <a:extLst>
                  <a:ext uri="{0D108BD9-81ED-4DB2-BD59-A6C34878D82A}">
                    <a16:rowId xmlns:a16="http://schemas.microsoft.com/office/drawing/2014/main" val="3281340745"/>
                  </a:ext>
                </a:extLst>
              </a:tr>
              <a:tr h="310641">
                <a:tc>
                  <a:txBody>
                    <a:bodyPr/>
                    <a:lstStyle/>
                    <a:p>
                      <a:pPr marL="0" marR="0" lvl="0" indent="0" algn="l" defTabSz="863995" rtl="0" eaLnBrk="1" fontAlgn="auto" latinLnBrk="0" hangingPunct="1">
                        <a:lnSpc>
                          <a:spcPct val="100000"/>
                        </a:lnSpc>
                        <a:spcBef>
                          <a:spcPts val="0"/>
                        </a:spcBef>
                        <a:spcAft>
                          <a:spcPts val="0"/>
                        </a:spcAft>
                        <a:buClrTx/>
                        <a:buSzTx/>
                        <a:buFontTx/>
                        <a:buNone/>
                        <a:tabLst/>
                        <a:defRPr/>
                      </a:pPr>
                      <a:endParaRPr lang="en-US" sz="1400" b="0" i="0" kern="1200" dirty="0">
                        <a:solidFill>
                          <a:srgbClr val="C00000"/>
                        </a:solidFill>
                        <a:effectLst/>
                        <a:latin typeface="+mn-lt"/>
                        <a:ea typeface="+mn-ea"/>
                        <a:cs typeface="+mn-cs"/>
                      </a:endParaRPr>
                    </a:p>
                  </a:txBody>
                  <a:tcPr/>
                </a:tc>
                <a:tc>
                  <a:txBody>
                    <a:bodyPr/>
                    <a:lstStyle/>
                    <a:p>
                      <a:endParaRPr lang="en-US" sz="1400" dirty="0">
                        <a:solidFill>
                          <a:srgbClr val="C00000"/>
                        </a:solidFill>
                      </a:endParaRPr>
                    </a:p>
                  </a:txBody>
                  <a:tcPr/>
                </a:tc>
                <a:extLst>
                  <a:ext uri="{0D108BD9-81ED-4DB2-BD59-A6C34878D82A}">
                    <a16:rowId xmlns:a16="http://schemas.microsoft.com/office/drawing/2014/main" val="3553383612"/>
                  </a:ext>
                </a:extLst>
              </a:tr>
            </a:tbl>
          </a:graphicData>
        </a:graphic>
      </p:graphicFrame>
      <p:cxnSp>
        <p:nvCxnSpPr>
          <p:cNvPr id="65" name="Straight Arrow Connector 64">
            <a:extLst>
              <a:ext uri="{FF2B5EF4-FFF2-40B4-BE49-F238E27FC236}">
                <a16:creationId xmlns:a16="http://schemas.microsoft.com/office/drawing/2014/main" id="{5B99525E-6C75-79AE-C7AA-4B4A6A735A36}"/>
              </a:ext>
            </a:extLst>
          </p:cNvPr>
          <p:cNvCxnSpPr>
            <a:cxnSpLocks/>
          </p:cNvCxnSpPr>
          <p:nvPr/>
        </p:nvCxnSpPr>
        <p:spPr>
          <a:xfrm flipH="1">
            <a:off x="3121499" y="2264002"/>
            <a:ext cx="1238343" cy="0"/>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nvGrpSpPr>
          <p:cNvPr id="110" name="Group 109">
            <a:extLst>
              <a:ext uri="{FF2B5EF4-FFF2-40B4-BE49-F238E27FC236}">
                <a16:creationId xmlns:a16="http://schemas.microsoft.com/office/drawing/2014/main" id="{EE92AF43-66FF-5873-2857-FDE33C0FD731}"/>
              </a:ext>
            </a:extLst>
          </p:cNvPr>
          <p:cNvGrpSpPr/>
          <p:nvPr/>
        </p:nvGrpSpPr>
        <p:grpSpPr>
          <a:xfrm>
            <a:off x="4832723" y="3317931"/>
            <a:ext cx="835083" cy="1550870"/>
            <a:chOff x="4832723" y="3317931"/>
            <a:chExt cx="835083" cy="1550870"/>
          </a:xfrm>
        </p:grpSpPr>
        <p:sp>
          <p:nvSpPr>
            <p:cNvPr id="67" name="Freeform: Shape 66">
              <a:extLst>
                <a:ext uri="{FF2B5EF4-FFF2-40B4-BE49-F238E27FC236}">
                  <a16:creationId xmlns:a16="http://schemas.microsoft.com/office/drawing/2014/main" id="{3C826186-612F-373C-727E-1D653CDE10A4}"/>
                </a:ext>
              </a:extLst>
            </p:cNvPr>
            <p:cNvSpPr/>
            <p:nvPr/>
          </p:nvSpPr>
          <p:spPr>
            <a:xfrm>
              <a:off x="4832723" y="3317931"/>
              <a:ext cx="835083" cy="1550870"/>
            </a:xfrm>
            <a:custGeom>
              <a:avLst/>
              <a:gdLst>
                <a:gd name="connsiteX0" fmla="*/ 715786 w 835083"/>
                <a:gd name="connsiteY0" fmla="*/ 0 h 1550870"/>
                <a:gd name="connsiteX1" fmla="*/ 119298 w 835083"/>
                <a:gd name="connsiteY1" fmla="*/ 0 h 1550870"/>
                <a:gd name="connsiteX2" fmla="*/ 0 w 835083"/>
                <a:gd name="connsiteY2" fmla="*/ 119298 h 1550870"/>
                <a:gd name="connsiteX3" fmla="*/ 0 w 835083"/>
                <a:gd name="connsiteY3" fmla="*/ 1431572 h 1550870"/>
                <a:gd name="connsiteX4" fmla="*/ 119298 w 835083"/>
                <a:gd name="connsiteY4" fmla="*/ 1550870 h 1550870"/>
                <a:gd name="connsiteX5" fmla="*/ 715786 w 835083"/>
                <a:gd name="connsiteY5" fmla="*/ 1550870 h 1550870"/>
                <a:gd name="connsiteX6" fmla="*/ 835084 w 835083"/>
                <a:gd name="connsiteY6" fmla="*/ 1431572 h 1550870"/>
                <a:gd name="connsiteX7" fmla="*/ 835084 w 835083"/>
                <a:gd name="connsiteY7" fmla="*/ 119298 h 1550870"/>
                <a:gd name="connsiteX8" fmla="*/ 715786 w 835083"/>
                <a:gd name="connsiteY8" fmla="*/ 0 h 1550870"/>
                <a:gd name="connsiteX9" fmla="*/ 775435 w 835083"/>
                <a:gd name="connsiteY9" fmla="*/ 1431572 h 1550870"/>
                <a:gd name="connsiteX10" fmla="*/ 715786 w 835083"/>
                <a:gd name="connsiteY10" fmla="*/ 1491221 h 1550870"/>
                <a:gd name="connsiteX11" fmla="*/ 119298 w 835083"/>
                <a:gd name="connsiteY11" fmla="*/ 1491221 h 1550870"/>
                <a:gd name="connsiteX12" fmla="*/ 59649 w 835083"/>
                <a:gd name="connsiteY12" fmla="*/ 1431572 h 1550870"/>
                <a:gd name="connsiteX13" fmla="*/ 59649 w 835083"/>
                <a:gd name="connsiteY13" fmla="*/ 119298 h 1550870"/>
                <a:gd name="connsiteX14" fmla="*/ 119298 w 835083"/>
                <a:gd name="connsiteY14" fmla="*/ 59649 h 1550870"/>
                <a:gd name="connsiteX15" fmla="*/ 715786 w 835083"/>
                <a:gd name="connsiteY15" fmla="*/ 59649 h 1550870"/>
                <a:gd name="connsiteX16" fmla="*/ 775435 w 835083"/>
                <a:gd name="connsiteY16" fmla="*/ 119298 h 1550870"/>
                <a:gd name="connsiteX17" fmla="*/ 775435 w 835083"/>
                <a:gd name="connsiteY17" fmla="*/ 1431572 h 1550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35083" h="1550870">
                  <a:moveTo>
                    <a:pt x="715786" y="0"/>
                  </a:moveTo>
                  <a:lnTo>
                    <a:pt x="119298" y="0"/>
                  </a:lnTo>
                  <a:cubicBezTo>
                    <a:pt x="53684" y="0"/>
                    <a:pt x="0" y="53684"/>
                    <a:pt x="0" y="119298"/>
                  </a:cubicBezTo>
                  <a:lnTo>
                    <a:pt x="0" y="1431572"/>
                  </a:lnTo>
                  <a:cubicBezTo>
                    <a:pt x="0" y="1497186"/>
                    <a:pt x="53684" y="1550870"/>
                    <a:pt x="119298" y="1550870"/>
                  </a:cubicBezTo>
                  <a:lnTo>
                    <a:pt x="715786" y="1550870"/>
                  </a:lnTo>
                  <a:cubicBezTo>
                    <a:pt x="781400" y="1550870"/>
                    <a:pt x="835084" y="1497186"/>
                    <a:pt x="835084" y="1431572"/>
                  </a:cubicBezTo>
                  <a:lnTo>
                    <a:pt x="835084" y="119298"/>
                  </a:lnTo>
                  <a:cubicBezTo>
                    <a:pt x="835084" y="53684"/>
                    <a:pt x="781400" y="0"/>
                    <a:pt x="715786" y="0"/>
                  </a:cubicBezTo>
                  <a:close/>
                  <a:moveTo>
                    <a:pt x="775435" y="1431572"/>
                  </a:moveTo>
                  <a:cubicBezTo>
                    <a:pt x="775435" y="1464379"/>
                    <a:pt x="748593" y="1491221"/>
                    <a:pt x="715786" y="1491221"/>
                  </a:cubicBezTo>
                  <a:lnTo>
                    <a:pt x="119298" y="1491221"/>
                  </a:lnTo>
                  <a:cubicBezTo>
                    <a:pt x="86491" y="1491221"/>
                    <a:pt x="59649" y="1464379"/>
                    <a:pt x="59649" y="1431572"/>
                  </a:cubicBezTo>
                  <a:lnTo>
                    <a:pt x="59649" y="119298"/>
                  </a:lnTo>
                  <a:cubicBezTo>
                    <a:pt x="59649" y="86491"/>
                    <a:pt x="86491" y="59649"/>
                    <a:pt x="119298" y="59649"/>
                  </a:cubicBezTo>
                  <a:lnTo>
                    <a:pt x="715786" y="59649"/>
                  </a:lnTo>
                  <a:cubicBezTo>
                    <a:pt x="748593" y="59649"/>
                    <a:pt x="775435" y="86491"/>
                    <a:pt x="775435" y="119298"/>
                  </a:cubicBezTo>
                  <a:lnTo>
                    <a:pt x="775435" y="1431572"/>
                  </a:lnTo>
                  <a:close/>
                </a:path>
              </a:pathLst>
            </a:custGeom>
            <a:solidFill>
              <a:srgbClr val="C00000"/>
            </a:solidFill>
            <a:ln w="14883"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1CAC576F-91EE-65E3-97BA-F2B0BB956D43}"/>
                </a:ext>
              </a:extLst>
            </p:cNvPr>
            <p:cNvSpPr/>
            <p:nvPr/>
          </p:nvSpPr>
          <p:spPr>
            <a:xfrm>
              <a:off x="5190616" y="4630206"/>
              <a:ext cx="119297" cy="119297"/>
            </a:xfrm>
            <a:custGeom>
              <a:avLst/>
              <a:gdLst>
                <a:gd name="connsiteX0" fmla="*/ 119298 w 119297"/>
                <a:gd name="connsiteY0" fmla="*/ 59649 h 119297"/>
                <a:gd name="connsiteX1" fmla="*/ 59649 w 119297"/>
                <a:gd name="connsiteY1" fmla="*/ 119298 h 119297"/>
                <a:gd name="connsiteX2" fmla="*/ 0 w 119297"/>
                <a:gd name="connsiteY2" fmla="*/ 59649 h 119297"/>
                <a:gd name="connsiteX3" fmla="*/ 59649 w 119297"/>
                <a:gd name="connsiteY3" fmla="*/ 0 h 119297"/>
                <a:gd name="connsiteX4" fmla="*/ 119298 w 119297"/>
                <a:gd name="connsiteY4" fmla="*/ 59649 h 119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297" h="119297">
                  <a:moveTo>
                    <a:pt x="119298" y="59649"/>
                  </a:moveTo>
                  <a:cubicBezTo>
                    <a:pt x="119298" y="92592"/>
                    <a:pt x="92592" y="119298"/>
                    <a:pt x="59649" y="119298"/>
                  </a:cubicBezTo>
                  <a:cubicBezTo>
                    <a:pt x="26706" y="119298"/>
                    <a:pt x="0" y="92592"/>
                    <a:pt x="0" y="59649"/>
                  </a:cubicBezTo>
                  <a:cubicBezTo>
                    <a:pt x="0" y="26706"/>
                    <a:pt x="26706" y="0"/>
                    <a:pt x="59649" y="0"/>
                  </a:cubicBezTo>
                  <a:cubicBezTo>
                    <a:pt x="92592" y="0"/>
                    <a:pt x="119298" y="26706"/>
                    <a:pt x="119298" y="59649"/>
                  </a:cubicBezTo>
                  <a:close/>
                </a:path>
              </a:pathLst>
            </a:custGeom>
            <a:solidFill>
              <a:srgbClr val="C00000"/>
            </a:solidFill>
            <a:ln w="14883"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7D472D7D-99AA-3527-852E-81D6354115C0}"/>
                </a:ext>
              </a:extLst>
            </p:cNvPr>
            <p:cNvSpPr/>
            <p:nvPr/>
          </p:nvSpPr>
          <p:spPr>
            <a:xfrm>
              <a:off x="5011669" y="4048629"/>
              <a:ext cx="477190" cy="29824"/>
            </a:xfrm>
            <a:custGeom>
              <a:avLst/>
              <a:gdLst>
                <a:gd name="connsiteX0" fmla="*/ 0 w 477190"/>
                <a:gd name="connsiteY0" fmla="*/ 0 h 29824"/>
                <a:gd name="connsiteX1" fmla="*/ 477191 w 477190"/>
                <a:gd name="connsiteY1" fmla="*/ 0 h 29824"/>
                <a:gd name="connsiteX2" fmla="*/ 477191 w 477190"/>
                <a:gd name="connsiteY2" fmla="*/ 29824 h 29824"/>
                <a:gd name="connsiteX3" fmla="*/ 0 w 477190"/>
                <a:gd name="connsiteY3" fmla="*/ 29824 h 29824"/>
              </a:gdLst>
              <a:ahLst/>
              <a:cxnLst>
                <a:cxn ang="0">
                  <a:pos x="connsiteX0" y="connsiteY0"/>
                </a:cxn>
                <a:cxn ang="0">
                  <a:pos x="connsiteX1" y="connsiteY1"/>
                </a:cxn>
                <a:cxn ang="0">
                  <a:pos x="connsiteX2" y="connsiteY2"/>
                </a:cxn>
                <a:cxn ang="0">
                  <a:pos x="connsiteX3" y="connsiteY3"/>
                </a:cxn>
              </a:cxnLst>
              <a:rect l="l" t="t" r="r" b="b"/>
              <a:pathLst>
                <a:path w="477190" h="29824">
                  <a:moveTo>
                    <a:pt x="0" y="0"/>
                  </a:moveTo>
                  <a:lnTo>
                    <a:pt x="477191" y="0"/>
                  </a:lnTo>
                  <a:lnTo>
                    <a:pt x="477191" y="29824"/>
                  </a:lnTo>
                  <a:lnTo>
                    <a:pt x="0" y="29824"/>
                  </a:lnTo>
                  <a:close/>
                </a:path>
              </a:pathLst>
            </a:custGeom>
            <a:solidFill>
              <a:srgbClr val="C00000"/>
            </a:solidFill>
            <a:ln w="14883"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C0CB96C8-C285-520F-7652-EE3C0AE710C4}"/>
                </a:ext>
              </a:extLst>
            </p:cNvPr>
            <p:cNvSpPr/>
            <p:nvPr/>
          </p:nvSpPr>
          <p:spPr>
            <a:xfrm>
              <a:off x="5011669" y="4108278"/>
              <a:ext cx="477190" cy="29824"/>
            </a:xfrm>
            <a:custGeom>
              <a:avLst/>
              <a:gdLst>
                <a:gd name="connsiteX0" fmla="*/ 0 w 477190"/>
                <a:gd name="connsiteY0" fmla="*/ 0 h 29824"/>
                <a:gd name="connsiteX1" fmla="*/ 477191 w 477190"/>
                <a:gd name="connsiteY1" fmla="*/ 0 h 29824"/>
                <a:gd name="connsiteX2" fmla="*/ 477191 w 477190"/>
                <a:gd name="connsiteY2" fmla="*/ 29824 h 29824"/>
                <a:gd name="connsiteX3" fmla="*/ 0 w 477190"/>
                <a:gd name="connsiteY3" fmla="*/ 29824 h 29824"/>
              </a:gdLst>
              <a:ahLst/>
              <a:cxnLst>
                <a:cxn ang="0">
                  <a:pos x="connsiteX0" y="connsiteY0"/>
                </a:cxn>
                <a:cxn ang="0">
                  <a:pos x="connsiteX1" y="connsiteY1"/>
                </a:cxn>
                <a:cxn ang="0">
                  <a:pos x="connsiteX2" y="connsiteY2"/>
                </a:cxn>
                <a:cxn ang="0">
                  <a:pos x="connsiteX3" y="connsiteY3"/>
                </a:cxn>
              </a:cxnLst>
              <a:rect l="l" t="t" r="r" b="b"/>
              <a:pathLst>
                <a:path w="477190" h="29824">
                  <a:moveTo>
                    <a:pt x="0" y="0"/>
                  </a:moveTo>
                  <a:lnTo>
                    <a:pt x="477191" y="0"/>
                  </a:lnTo>
                  <a:lnTo>
                    <a:pt x="477191" y="29824"/>
                  </a:lnTo>
                  <a:lnTo>
                    <a:pt x="0" y="29824"/>
                  </a:lnTo>
                  <a:close/>
                </a:path>
              </a:pathLst>
            </a:custGeom>
            <a:solidFill>
              <a:srgbClr val="C00000"/>
            </a:solidFill>
            <a:ln w="14883"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29599EE7-CE21-CC50-6389-37AE9E3396A3}"/>
                </a:ext>
              </a:extLst>
            </p:cNvPr>
            <p:cNvSpPr/>
            <p:nvPr/>
          </p:nvSpPr>
          <p:spPr>
            <a:xfrm>
              <a:off x="5011669" y="4167927"/>
              <a:ext cx="298244" cy="29824"/>
            </a:xfrm>
            <a:custGeom>
              <a:avLst/>
              <a:gdLst>
                <a:gd name="connsiteX0" fmla="*/ 0 w 298244"/>
                <a:gd name="connsiteY0" fmla="*/ 0 h 29824"/>
                <a:gd name="connsiteX1" fmla="*/ 298244 w 298244"/>
                <a:gd name="connsiteY1" fmla="*/ 0 h 29824"/>
                <a:gd name="connsiteX2" fmla="*/ 298244 w 298244"/>
                <a:gd name="connsiteY2" fmla="*/ 29824 h 29824"/>
                <a:gd name="connsiteX3" fmla="*/ 0 w 298244"/>
                <a:gd name="connsiteY3" fmla="*/ 29824 h 29824"/>
              </a:gdLst>
              <a:ahLst/>
              <a:cxnLst>
                <a:cxn ang="0">
                  <a:pos x="connsiteX0" y="connsiteY0"/>
                </a:cxn>
                <a:cxn ang="0">
                  <a:pos x="connsiteX1" y="connsiteY1"/>
                </a:cxn>
                <a:cxn ang="0">
                  <a:pos x="connsiteX2" y="connsiteY2"/>
                </a:cxn>
                <a:cxn ang="0">
                  <a:pos x="connsiteX3" y="connsiteY3"/>
                </a:cxn>
              </a:cxnLst>
              <a:rect l="l" t="t" r="r" b="b"/>
              <a:pathLst>
                <a:path w="298244" h="29824">
                  <a:moveTo>
                    <a:pt x="0" y="0"/>
                  </a:moveTo>
                  <a:lnTo>
                    <a:pt x="298244" y="0"/>
                  </a:lnTo>
                  <a:lnTo>
                    <a:pt x="298244" y="29824"/>
                  </a:lnTo>
                  <a:lnTo>
                    <a:pt x="0" y="29824"/>
                  </a:lnTo>
                  <a:close/>
                </a:path>
              </a:pathLst>
            </a:custGeom>
            <a:solidFill>
              <a:srgbClr val="C00000"/>
            </a:solidFill>
            <a:ln w="14883"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C64DFCC8-2757-E585-4940-BC8C05B0D922}"/>
                </a:ext>
              </a:extLst>
            </p:cNvPr>
            <p:cNvSpPr/>
            <p:nvPr/>
          </p:nvSpPr>
          <p:spPr>
            <a:xfrm>
              <a:off x="5011669" y="4227576"/>
              <a:ext cx="477190" cy="29824"/>
            </a:xfrm>
            <a:custGeom>
              <a:avLst/>
              <a:gdLst>
                <a:gd name="connsiteX0" fmla="*/ 0 w 477190"/>
                <a:gd name="connsiteY0" fmla="*/ 0 h 29824"/>
                <a:gd name="connsiteX1" fmla="*/ 477191 w 477190"/>
                <a:gd name="connsiteY1" fmla="*/ 0 h 29824"/>
                <a:gd name="connsiteX2" fmla="*/ 477191 w 477190"/>
                <a:gd name="connsiteY2" fmla="*/ 29824 h 29824"/>
                <a:gd name="connsiteX3" fmla="*/ 0 w 477190"/>
                <a:gd name="connsiteY3" fmla="*/ 29824 h 29824"/>
              </a:gdLst>
              <a:ahLst/>
              <a:cxnLst>
                <a:cxn ang="0">
                  <a:pos x="connsiteX0" y="connsiteY0"/>
                </a:cxn>
                <a:cxn ang="0">
                  <a:pos x="connsiteX1" y="connsiteY1"/>
                </a:cxn>
                <a:cxn ang="0">
                  <a:pos x="connsiteX2" y="connsiteY2"/>
                </a:cxn>
                <a:cxn ang="0">
                  <a:pos x="connsiteX3" y="connsiteY3"/>
                </a:cxn>
              </a:cxnLst>
              <a:rect l="l" t="t" r="r" b="b"/>
              <a:pathLst>
                <a:path w="477190" h="29824">
                  <a:moveTo>
                    <a:pt x="0" y="0"/>
                  </a:moveTo>
                  <a:lnTo>
                    <a:pt x="477191" y="0"/>
                  </a:lnTo>
                  <a:lnTo>
                    <a:pt x="477191" y="29824"/>
                  </a:lnTo>
                  <a:lnTo>
                    <a:pt x="0" y="29824"/>
                  </a:lnTo>
                  <a:close/>
                </a:path>
              </a:pathLst>
            </a:custGeom>
            <a:solidFill>
              <a:srgbClr val="C00000"/>
            </a:solidFill>
            <a:ln w="14883"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BF20CF34-5397-AAAC-28B3-7F59971DE5DF}"/>
                </a:ext>
              </a:extLst>
            </p:cNvPr>
            <p:cNvSpPr/>
            <p:nvPr/>
          </p:nvSpPr>
          <p:spPr>
            <a:xfrm>
              <a:off x="5011669" y="4287225"/>
              <a:ext cx="477190" cy="29824"/>
            </a:xfrm>
            <a:custGeom>
              <a:avLst/>
              <a:gdLst>
                <a:gd name="connsiteX0" fmla="*/ 0 w 477190"/>
                <a:gd name="connsiteY0" fmla="*/ 0 h 29824"/>
                <a:gd name="connsiteX1" fmla="*/ 477191 w 477190"/>
                <a:gd name="connsiteY1" fmla="*/ 0 h 29824"/>
                <a:gd name="connsiteX2" fmla="*/ 477191 w 477190"/>
                <a:gd name="connsiteY2" fmla="*/ 29824 h 29824"/>
                <a:gd name="connsiteX3" fmla="*/ 0 w 477190"/>
                <a:gd name="connsiteY3" fmla="*/ 29824 h 29824"/>
              </a:gdLst>
              <a:ahLst/>
              <a:cxnLst>
                <a:cxn ang="0">
                  <a:pos x="connsiteX0" y="connsiteY0"/>
                </a:cxn>
                <a:cxn ang="0">
                  <a:pos x="connsiteX1" y="connsiteY1"/>
                </a:cxn>
                <a:cxn ang="0">
                  <a:pos x="connsiteX2" y="connsiteY2"/>
                </a:cxn>
                <a:cxn ang="0">
                  <a:pos x="connsiteX3" y="connsiteY3"/>
                </a:cxn>
              </a:cxnLst>
              <a:rect l="l" t="t" r="r" b="b"/>
              <a:pathLst>
                <a:path w="477190" h="29824">
                  <a:moveTo>
                    <a:pt x="0" y="0"/>
                  </a:moveTo>
                  <a:lnTo>
                    <a:pt x="477191" y="0"/>
                  </a:lnTo>
                  <a:lnTo>
                    <a:pt x="477191" y="29824"/>
                  </a:lnTo>
                  <a:lnTo>
                    <a:pt x="0" y="29824"/>
                  </a:lnTo>
                  <a:close/>
                </a:path>
              </a:pathLst>
            </a:custGeom>
            <a:solidFill>
              <a:srgbClr val="C00000"/>
            </a:solidFill>
            <a:ln w="14883"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3C60BC20-0FD4-453D-AD1A-A515A08F58F1}"/>
                </a:ext>
              </a:extLst>
            </p:cNvPr>
            <p:cNvSpPr/>
            <p:nvPr/>
          </p:nvSpPr>
          <p:spPr>
            <a:xfrm>
              <a:off x="5011669" y="4346874"/>
              <a:ext cx="477190" cy="29824"/>
            </a:xfrm>
            <a:custGeom>
              <a:avLst/>
              <a:gdLst>
                <a:gd name="connsiteX0" fmla="*/ 0 w 477190"/>
                <a:gd name="connsiteY0" fmla="*/ 0 h 29824"/>
                <a:gd name="connsiteX1" fmla="*/ 477191 w 477190"/>
                <a:gd name="connsiteY1" fmla="*/ 0 h 29824"/>
                <a:gd name="connsiteX2" fmla="*/ 477191 w 477190"/>
                <a:gd name="connsiteY2" fmla="*/ 29824 h 29824"/>
                <a:gd name="connsiteX3" fmla="*/ 0 w 477190"/>
                <a:gd name="connsiteY3" fmla="*/ 29824 h 29824"/>
              </a:gdLst>
              <a:ahLst/>
              <a:cxnLst>
                <a:cxn ang="0">
                  <a:pos x="connsiteX0" y="connsiteY0"/>
                </a:cxn>
                <a:cxn ang="0">
                  <a:pos x="connsiteX1" y="connsiteY1"/>
                </a:cxn>
                <a:cxn ang="0">
                  <a:pos x="connsiteX2" y="connsiteY2"/>
                </a:cxn>
                <a:cxn ang="0">
                  <a:pos x="connsiteX3" y="connsiteY3"/>
                </a:cxn>
              </a:cxnLst>
              <a:rect l="l" t="t" r="r" b="b"/>
              <a:pathLst>
                <a:path w="477190" h="29824">
                  <a:moveTo>
                    <a:pt x="0" y="0"/>
                  </a:moveTo>
                  <a:lnTo>
                    <a:pt x="477191" y="0"/>
                  </a:lnTo>
                  <a:lnTo>
                    <a:pt x="477191" y="29824"/>
                  </a:lnTo>
                  <a:lnTo>
                    <a:pt x="0" y="29824"/>
                  </a:lnTo>
                  <a:close/>
                </a:path>
              </a:pathLst>
            </a:custGeom>
            <a:solidFill>
              <a:srgbClr val="C00000"/>
            </a:solidFill>
            <a:ln w="14883"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D8B01FC5-E794-5DE1-710E-BD537EC3AA37}"/>
                </a:ext>
              </a:extLst>
            </p:cNvPr>
            <p:cNvSpPr/>
            <p:nvPr/>
          </p:nvSpPr>
          <p:spPr>
            <a:xfrm>
              <a:off x="5011669" y="4406523"/>
              <a:ext cx="477190" cy="29824"/>
            </a:xfrm>
            <a:custGeom>
              <a:avLst/>
              <a:gdLst>
                <a:gd name="connsiteX0" fmla="*/ 0 w 477190"/>
                <a:gd name="connsiteY0" fmla="*/ 0 h 29824"/>
                <a:gd name="connsiteX1" fmla="*/ 477191 w 477190"/>
                <a:gd name="connsiteY1" fmla="*/ 0 h 29824"/>
                <a:gd name="connsiteX2" fmla="*/ 477191 w 477190"/>
                <a:gd name="connsiteY2" fmla="*/ 29824 h 29824"/>
                <a:gd name="connsiteX3" fmla="*/ 0 w 477190"/>
                <a:gd name="connsiteY3" fmla="*/ 29824 h 29824"/>
              </a:gdLst>
              <a:ahLst/>
              <a:cxnLst>
                <a:cxn ang="0">
                  <a:pos x="connsiteX0" y="connsiteY0"/>
                </a:cxn>
                <a:cxn ang="0">
                  <a:pos x="connsiteX1" y="connsiteY1"/>
                </a:cxn>
                <a:cxn ang="0">
                  <a:pos x="connsiteX2" y="connsiteY2"/>
                </a:cxn>
                <a:cxn ang="0">
                  <a:pos x="connsiteX3" y="connsiteY3"/>
                </a:cxn>
              </a:cxnLst>
              <a:rect l="l" t="t" r="r" b="b"/>
              <a:pathLst>
                <a:path w="477190" h="29824">
                  <a:moveTo>
                    <a:pt x="0" y="0"/>
                  </a:moveTo>
                  <a:lnTo>
                    <a:pt x="477191" y="0"/>
                  </a:lnTo>
                  <a:lnTo>
                    <a:pt x="477191" y="29824"/>
                  </a:lnTo>
                  <a:lnTo>
                    <a:pt x="0" y="29824"/>
                  </a:lnTo>
                  <a:close/>
                </a:path>
              </a:pathLst>
            </a:custGeom>
            <a:solidFill>
              <a:srgbClr val="C00000"/>
            </a:solidFill>
            <a:ln w="14883"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ED2C36C8-C19E-D449-D357-FD9A01B3805E}"/>
                </a:ext>
              </a:extLst>
            </p:cNvPr>
            <p:cNvSpPr/>
            <p:nvPr/>
          </p:nvSpPr>
          <p:spPr>
            <a:xfrm>
              <a:off x="5011669" y="4466171"/>
              <a:ext cx="238595" cy="29824"/>
            </a:xfrm>
            <a:custGeom>
              <a:avLst/>
              <a:gdLst>
                <a:gd name="connsiteX0" fmla="*/ 0 w 238595"/>
                <a:gd name="connsiteY0" fmla="*/ 0 h 29824"/>
                <a:gd name="connsiteX1" fmla="*/ 238595 w 238595"/>
                <a:gd name="connsiteY1" fmla="*/ 0 h 29824"/>
                <a:gd name="connsiteX2" fmla="*/ 238595 w 238595"/>
                <a:gd name="connsiteY2" fmla="*/ 29824 h 29824"/>
                <a:gd name="connsiteX3" fmla="*/ 0 w 238595"/>
                <a:gd name="connsiteY3" fmla="*/ 29824 h 29824"/>
              </a:gdLst>
              <a:ahLst/>
              <a:cxnLst>
                <a:cxn ang="0">
                  <a:pos x="connsiteX0" y="connsiteY0"/>
                </a:cxn>
                <a:cxn ang="0">
                  <a:pos x="connsiteX1" y="connsiteY1"/>
                </a:cxn>
                <a:cxn ang="0">
                  <a:pos x="connsiteX2" y="connsiteY2"/>
                </a:cxn>
                <a:cxn ang="0">
                  <a:pos x="connsiteX3" y="connsiteY3"/>
                </a:cxn>
              </a:cxnLst>
              <a:rect l="l" t="t" r="r" b="b"/>
              <a:pathLst>
                <a:path w="238595" h="29824">
                  <a:moveTo>
                    <a:pt x="0" y="0"/>
                  </a:moveTo>
                  <a:lnTo>
                    <a:pt x="238595" y="0"/>
                  </a:lnTo>
                  <a:lnTo>
                    <a:pt x="238595" y="29824"/>
                  </a:lnTo>
                  <a:lnTo>
                    <a:pt x="0" y="29824"/>
                  </a:lnTo>
                  <a:close/>
                </a:path>
              </a:pathLst>
            </a:custGeom>
            <a:solidFill>
              <a:srgbClr val="C00000"/>
            </a:solidFill>
            <a:ln w="14883" cap="flat">
              <a:noFill/>
              <a:prstDash val="solid"/>
              <a:miter/>
            </a:ln>
          </p:spPr>
          <p:txBody>
            <a:bodyPr rtlCol="0" anchor="ctr"/>
            <a:lstStyle/>
            <a:p>
              <a:endParaRPr lang="en-US"/>
            </a:p>
          </p:txBody>
        </p:sp>
      </p:grpSp>
      <p:sp>
        <p:nvSpPr>
          <p:cNvPr id="78" name="IAV Vehicle">
            <a:extLst>
              <a:ext uri="{FF2B5EF4-FFF2-40B4-BE49-F238E27FC236}">
                <a16:creationId xmlns:a16="http://schemas.microsoft.com/office/drawing/2014/main" id="{44FDCC87-00FA-A282-37FD-1DC68BE34ADA}"/>
              </a:ext>
            </a:extLst>
          </p:cNvPr>
          <p:cNvSpPr>
            <a:spLocks noChangeAspect="1" noEditPoints="1"/>
          </p:cNvSpPr>
          <p:nvPr/>
        </p:nvSpPr>
        <p:spPr bwMode="auto">
          <a:xfrm>
            <a:off x="4942803" y="3597243"/>
            <a:ext cx="638874" cy="245582"/>
          </a:xfrm>
          <a:custGeom>
            <a:avLst/>
            <a:gdLst>
              <a:gd name="T0" fmla="*/ 652 w 783"/>
              <a:gd name="T1" fmla="*/ 176 h 301"/>
              <a:gd name="T2" fmla="*/ 590 w 783"/>
              <a:gd name="T3" fmla="*/ 238 h 301"/>
              <a:gd name="T4" fmla="*/ 652 w 783"/>
              <a:gd name="T5" fmla="*/ 301 h 301"/>
              <a:gd name="T6" fmla="*/ 715 w 783"/>
              <a:gd name="T7" fmla="*/ 238 h 301"/>
              <a:gd name="T8" fmla="*/ 652 w 783"/>
              <a:gd name="T9" fmla="*/ 176 h 301"/>
              <a:gd name="T10" fmla="*/ 652 w 783"/>
              <a:gd name="T11" fmla="*/ 278 h 301"/>
              <a:gd name="T12" fmla="*/ 613 w 783"/>
              <a:gd name="T13" fmla="*/ 238 h 301"/>
              <a:gd name="T14" fmla="*/ 652 w 783"/>
              <a:gd name="T15" fmla="*/ 199 h 301"/>
              <a:gd name="T16" fmla="*/ 692 w 783"/>
              <a:gd name="T17" fmla="*/ 238 h 301"/>
              <a:gd name="T18" fmla="*/ 652 w 783"/>
              <a:gd name="T19" fmla="*/ 278 h 301"/>
              <a:gd name="T20" fmla="*/ 142 w 783"/>
              <a:gd name="T21" fmla="*/ 176 h 301"/>
              <a:gd name="T22" fmla="*/ 80 w 783"/>
              <a:gd name="T23" fmla="*/ 238 h 301"/>
              <a:gd name="T24" fmla="*/ 142 w 783"/>
              <a:gd name="T25" fmla="*/ 301 h 301"/>
              <a:gd name="T26" fmla="*/ 204 w 783"/>
              <a:gd name="T27" fmla="*/ 238 h 301"/>
              <a:gd name="T28" fmla="*/ 142 w 783"/>
              <a:gd name="T29" fmla="*/ 176 h 301"/>
              <a:gd name="T30" fmla="*/ 142 w 783"/>
              <a:gd name="T31" fmla="*/ 278 h 301"/>
              <a:gd name="T32" fmla="*/ 102 w 783"/>
              <a:gd name="T33" fmla="*/ 238 h 301"/>
              <a:gd name="T34" fmla="*/ 142 w 783"/>
              <a:gd name="T35" fmla="*/ 199 h 301"/>
              <a:gd name="T36" fmla="*/ 182 w 783"/>
              <a:gd name="T37" fmla="*/ 238 h 301"/>
              <a:gd name="T38" fmla="*/ 142 w 783"/>
              <a:gd name="T39" fmla="*/ 278 h 301"/>
              <a:gd name="T40" fmla="*/ 572 w 783"/>
              <a:gd name="T41" fmla="*/ 89 h 301"/>
              <a:gd name="T42" fmla="*/ 543 w 783"/>
              <a:gd name="T43" fmla="*/ 73 h 301"/>
              <a:gd name="T44" fmla="*/ 415 w 783"/>
              <a:gd name="T45" fmla="*/ 17 h 301"/>
              <a:gd name="T46" fmla="*/ 176 w 783"/>
              <a:gd name="T47" fmla="*/ 50 h 301"/>
              <a:gd name="T48" fmla="*/ 39 w 783"/>
              <a:gd name="T49" fmla="*/ 88 h 301"/>
              <a:gd name="T50" fmla="*/ 35 w 783"/>
              <a:gd name="T51" fmla="*/ 90 h 301"/>
              <a:gd name="T52" fmla="*/ 0 w 783"/>
              <a:gd name="T53" fmla="*/ 250 h 301"/>
              <a:gd name="T54" fmla="*/ 6 w 783"/>
              <a:gd name="T55" fmla="*/ 256 h 301"/>
              <a:gd name="T56" fmla="*/ 71 w 783"/>
              <a:gd name="T57" fmla="*/ 256 h 301"/>
              <a:gd name="T58" fmla="*/ 68 w 783"/>
              <a:gd name="T59" fmla="*/ 238 h 301"/>
              <a:gd name="T60" fmla="*/ 142 w 783"/>
              <a:gd name="T61" fmla="*/ 165 h 301"/>
              <a:gd name="T62" fmla="*/ 216 w 783"/>
              <a:gd name="T63" fmla="*/ 238 h 301"/>
              <a:gd name="T64" fmla="*/ 213 w 783"/>
              <a:gd name="T65" fmla="*/ 257 h 301"/>
              <a:gd name="T66" fmla="*/ 582 w 783"/>
              <a:gd name="T67" fmla="*/ 260 h 301"/>
              <a:gd name="T68" fmla="*/ 579 w 783"/>
              <a:gd name="T69" fmla="*/ 238 h 301"/>
              <a:gd name="T70" fmla="*/ 652 w 783"/>
              <a:gd name="T71" fmla="*/ 165 h 301"/>
              <a:gd name="T72" fmla="*/ 726 w 783"/>
              <a:gd name="T73" fmla="*/ 238 h 301"/>
              <a:gd name="T74" fmla="*/ 723 w 783"/>
              <a:gd name="T75" fmla="*/ 261 h 301"/>
              <a:gd name="T76" fmla="*/ 777 w 783"/>
              <a:gd name="T77" fmla="*/ 261 h 301"/>
              <a:gd name="T78" fmla="*/ 777 w 783"/>
              <a:gd name="T79" fmla="*/ 261 h 301"/>
              <a:gd name="T80" fmla="*/ 781 w 783"/>
              <a:gd name="T81" fmla="*/ 259 h 301"/>
              <a:gd name="T82" fmla="*/ 783 w 783"/>
              <a:gd name="T83" fmla="*/ 255 h 301"/>
              <a:gd name="T84" fmla="*/ 572 w 783"/>
              <a:gd name="T85" fmla="*/ 89 h 301"/>
              <a:gd name="T86" fmla="*/ 505 w 783"/>
              <a:gd name="T87" fmla="*/ 108 h 301"/>
              <a:gd name="T88" fmla="*/ 165 w 783"/>
              <a:gd name="T89" fmla="*/ 88 h 301"/>
              <a:gd name="T90" fmla="*/ 369 w 783"/>
              <a:gd name="T91" fmla="*/ 29 h 301"/>
              <a:gd name="T92" fmla="*/ 505 w 783"/>
              <a:gd name="T93" fmla="*/ 108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83" h="301">
                <a:moveTo>
                  <a:pt x="652" y="176"/>
                </a:moveTo>
                <a:cubicBezTo>
                  <a:pt x="618" y="176"/>
                  <a:pt x="590" y="204"/>
                  <a:pt x="590" y="238"/>
                </a:cubicBezTo>
                <a:cubicBezTo>
                  <a:pt x="590" y="273"/>
                  <a:pt x="618" y="301"/>
                  <a:pt x="652" y="301"/>
                </a:cubicBezTo>
                <a:cubicBezTo>
                  <a:pt x="687" y="301"/>
                  <a:pt x="715" y="273"/>
                  <a:pt x="715" y="238"/>
                </a:cubicBezTo>
                <a:cubicBezTo>
                  <a:pt x="715" y="204"/>
                  <a:pt x="687" y="176"/>
                  <a:pt x="652" y="176"/>
                </a:cubicBezTo>
                <a:close/>
                <a:moveTo>
                  <a:pt x="652" y="278"/>
                </a:moveTo>
                <a:cubicBezTo>
                  <a:pt x="630" y="278"/>
                  <a:pt x="613" y="260"/>
                  <a:pt x="613" y="238"/>
                </a:cubicBezTo>
                <a:cubicBezTo>
                  <a:pt x="613" y="217"/>
                  <a:pt x="630" y="199"/>
                  <a:pt x="652" y="199"/>
                </a:cubicBezTo>
                <a:cubicBezTo>
                  <a:pt x="674" y="199"/>
                  <a:pt x="692" y="217"/>
                  <a:pt x="692" y="238"/>
                </a:cubicBezTo>
                <a:cubicBezTo>
                  <a:pt x="692" y="260"/>
                  <a:pt x="674" y="278"/>
                  <a:pt x="652" y="278"/>
                </a:cubicBezTo>
                <a:close/>
                <a:moveTo>
                  <a:pt x="142" y="176"/>
                </a:moveTo>
                <a:cubicBezTo>
                  <a:pt x="108" y="176"/>
                  <a:pt x="80" y="204"/>
                  <a:pt x="80" y="238"/>
                </a:cubicBezTo>
                <a:cubicBezTo>
                  <a:pt x="80" y="273"/>
                  <a:pt x="108" y="301"/>
                  <a:pt x="142" y="301"/>
                </a:cubicBezTo>
                <a:cubicBezTo>
                  <a:pt x="176" y="301"/>
                  <a:pt x="204" y="273"/>
                  <a:pt x="204" y="238"/>
                </a:cubicBezTo>
                <a:cubicBezTo>
                  <a:pt x="204" y="204"/>
                  <a:pt x="176" y="176"/>
                  <a:pt x="142" y="176"/>
                </a:cubicBezTo>
                <a:close/>
                <a:moveTo>
                  <a:pt x="142" y="278"/>
                </a:moveTo>
                <a:cubicBezTo>
                  <a:pt x="120" y="278"/>
                  <a:pt x="102" y="260"/>
                  <a:pt x="102" y="238"/>
                </a:cubicBezTo>
                <a:cubicBezTo>
                  <a:pt x="102" y="217"/>
                  <a:pt x="120" y="199"/>
                  <a:pt x="142" y="199"/>
                </a:cubicBezTo>
                <a:cubicBezTo>
                  <a:pt x="164" y="199"/>
                  <a:pt x="182" y="217"/>
                  <a:pt x="182" y="238"/>
                </a:cubicBezTo>
                <a:cubicBezTo>
                  <a:pt x="182" y="260"/>
                  <a:pt x="164" y="278"/>
                  <a:pt x="142" y="278"/>
                </a:cubicBezTo>
                <a:close/>
                <a:moveTo>
                  <a:pt x="572" y="89"/>
                </a:moveTo>
                <a:cubicBezTo>
                  <a:pt x="568" y="88"/>
                  <a:pt x="557" y="81"/>
                  <a:pt x="543" y="73"/>
                </a:cubicBezTo>
                <a:cubicBezTo>
                  <a:pt x="512" y="55"/>
                  <a:pt x="466" y="28"/>
                  <a:pt x="415" y="17"/>
                </a:cubicBezTo>
                <a:cubicBezTo>
                  <a:pt x="332" y="0"/>
                  <a:pt x="260" y="23"/>
                  <a:pt x="176" y="50"/>
                </a:cubicBezTo>
                <a:cubicBezTo>
                  <a:pt x="133" y="64"/>
                  <a:pt x="89" y="78"/>
                  <a:pt x="39" y="88"/>
                </a:cubicBezTo>
                <a:cubicBezTo>
                  <a:pt x="37" y="88"/>
                  <a:pt x="36" y="89"/>
                  <a:pt x="35" y="90"/>
                </a:cubicBezTo>
                <a:cubicBezTo>
                  <a:pt x="34" y="93"/>
                  <a:pt x="0" y="146"/>
                  <a:pt x="0" y="250"/>
                </a:cubicBezTo>
                <a:cubicBezTo>
                  <a:pt x="0" y="253"/>
                  <a:pt x="3" y="256"/>
                  <a:pt x="6" y="256"/>
                </a:cubicBezTo>
                <a:cubicBezTo>
                  <a:pt x="71" y="256"/>
                  <a:pt x="71" y="256"/>
                  <a:pt x="71" y="256"/>
                </a:cubicBezTo>
                <a:cubicBezTo>
                  <a:pt x="69" y="251"/>
                  <a:pt x="68" y="245"/>
                  <a:pt x="68" y="238"/>
                </a:cubicBezTo>
                <a:cubicBezTo>
                  <a:pt x="68" y="198"/>
                  <a:pt x="101" y="165"/>
                  <a:pt x="142" y="165"/>
                </a:cubicBezTo>
                <a:cubicBezTo>
                  <a:pt x="183" y="165"/>
                  <a:pt x="216" y="198"/>
                  <a:pt x="216" y="238"/>
                </a:cubicBezTo>
                <a:cubicBezTo>
                  <a:pt x="216" y="245"/>
                  <a:pt x="215" y="251"/>
                  <a:pt x="213" y="257"/>
                </a:cubicBezTo>
                <a:cubicBezTo>
                  <a:pt x="582" y="260"/>
                  <a:pt x="582" y="260"/>
                  <a:pt x="582" y="260"/>
                </a:cubicBezTo>
                <a:cubicBezTo>
                  <a:pt x="580" y="253"/>
                  <a:pt x="579" y="246"/>
                  <a:pt x="579" y="238"/>
                </a:cubicBezTo>
                <a:cubicBezTo>
                  <a:pt x="579" y="198"/>
                  <a:pt x="612" y="165"/>
                  <a:pt x="652" y="165"/>
                </a:cubicBezTo>
                <a:cubicBezTo>
                  <a:pt x="693" y="165"/>
                  <a:pt x="726" y="198"/>
                  <a:pt x="726" y="238"/>
                </a:cubicBezTo>
                <a:cubicBezTo>
                  <a:pt x="726" y="246"/>
                  <a:pt x="725" y="254"/>
                  <a:pt x="723" y="261"/>
                </a:cubicBezTo>
                <a:cubicBezTo>
                  <a:pt x="777" y="261"/>
                  <a:pt x="777" y="261"/>
                  <a:pt x="777" y="261"/>
                </a:cubicBezTo>
                <a:cubicBezTo>
                  <a:pt x="777" y="261"/>
                  <a:pt x="777" y="261"/>
                  <a:pt x="777" y="261"/>
                </a:cubicBezTo>
                <a:cubicBezTo>
                  <a:pt x="778" y="261"/>
                  <a:pt x="780" y="261"/>
                  <a:pt x="781" y="259"/>
                </a:cubicBezTo>
                <a:cubicBezTo>
                  <a:pt x="782" y="258"/>
                  <a:pt x="783" y="257"/>
                  <a:pt x="783" y="255"/>
                </a:cubicBezTo>
                <a:cubicBezTo>
                  <a:pt x="783" y="147"/>
                  <a:pt x="766" y="122"/>
                  <a:pt x="572" y="89"/>
                </a:cubicBezTo>
                <a:close/>
                <a:moveTo>
                  <a:pt x="505" y="108"/>
                </a:moveTo>
                <a:cubicBezTo>
                  <a:pt x="459" y="119"/>
                  <a:pt x="165" y="88"/>
                  <a:pt x="165" y="88"/>
                </a:cubicBezTo>
                <a:cubicBezTo>
                  <a:pt x="165" y="88"/>
                  <a:pt x="279" y="29"/>
                  <a:pt x="369" y="29"/>
                </a:cubicBezTo>
                <a:cubicBezTo>
                  <a:pt x="449" y="29"/>
                  <a:pt x="546" y="98"/>
                  <a:pt x="505" y="1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nvGrpSpPr>
          <p:cNvPr id="92" name="Group 91">
            <a:extLst>
              <a:ext uri="{FF2B5EF4-FFF2-40B4-BE49-F238E27FC236}">
                <a16:creationId xmlns:a16="http://schemas.microsoft.com/office/drawing/2014/main" id="{047E7223-C14C-F872-2090-C0A27B1CDB3D}"/>
              </a:ext>
            </a:extLst>
          </p:cNvPr>
          <p:cNvGrpSpPr/>
          <p:nvPr/>
        </p:nvGrpSpPr>
        <p:grpSpPr>
          <a:xfrm>
            <a:off x="8803931" y="3317931"/>
            <a:ext cx="835083" cy="1550870"/>
            <a:chOff x="8803931" y="3317931"/>
            <a:chExt cx="835083" cy="1550870"/>
          </a:xfrm>
        </p:grpSpPr>
        <p:sp>
          <p:nvSpPr>
            <p:cNvPr id="80" name="Freeform: Shape 79">
              <a:extLst>
                <a:ext uri="{FF2B5EF4-FFF2-40B4-BE49-F238E27FC236}">
                  <a16:creationId xmlns:a16="http://schemas.microsoft.com/office/drawing/2014/main" id="{A7C67647-7B67-54F9-213D-0D40A6EA16D0}"/>
                </a:ext>
              </a:extLst>
            </p:cNvPr>
            <p:cNvSpPr/>
            <p:nvPr/>
          </p:nvSpPr>
          <p:spPr>
            <a:xfrm>
              <a:off x="8803931" y="3317931"/>
              <a:ext cx="835083" cy="1550870"/>
            </a:xfrm>
            <a:custGeom>
              <a:avLst/>
              <a:gdLst>
                <a:gd name="connsiteX0" fmla="*/ 715786 w 835083"/>
                <a:gd name="connsiteY0" fmla="*/ 0 h 1550870"/>
                <a:gd name="connsiteX1" fmla="*/ 119298 w 835083"/>
                <a:gd name="connsiteY1" fmla="*/ 0 h 1550870"/>
                <a:gd name="connsiteX2" fmla="*/ 0 w 835083"/>
                <a:gd name="connsiteY2" fmla="*/ 119298 h 1550870"/>
                <a:gd name="connsiteX3" fmla="*/ 0 w 835083"/>
                <a:gd name="connsiteY3" fmla="*/ 1431572 h 1550870"/>
                <a:gd name="connsiteX4" fmla="*/ 119298 w 835083"/>
                <a:gd name="connsiteY4" fmla="*/ 1550870 h 1550870"/>
                <a:gd name="connsiteX5" fmla="*/ 715786 w 835083"/>
                <a:gd name="connsiteY5" fmla="*/ 1550870 h 1550870"/>
                <a:gd name="connsiteX6" fmla="*/ 835084 w 835083"/>
                <a:gd name="connsiteY6" fmla="*/ 1431572 h 1550870"/>
                <a:gd name="connsiteX7" fmla="*/ 835084 w 835083"/>
                <a:gd name="connsiteY7" fmla="*/ 119298 h 1550870"/>
                <a:gd name="connsiteX8" fmla="*/ 715786 w 835083"/>
                <a:gd name="connsiteY8" fmla="*/ 0 h 1550870"/>
                <a:gd name="connsiteX9" fmla="*/ 775435 w 835083"/>
                <a:gd name="connsiteY9" fmla="*/ 1431572 h 1550870"/>
                <a:gd name="connsiteX10" fmla="*/ 715786 w 835083"/>
                <a:gd name="connsiteY10" fmla="*/ 1491221 h 1550870"/>
                <a:gd name="connsiteX11" fmla="*/ 119298 w 835083"/>
                <a:gd name="connsiteY11" fmla="*/ 1491221 h 1550870"/>
                <a:gd name="connsiteX12" fmla="*/ 59649 w 835083"/>
                <a:gd name="connsiteY12" fmla="*/ 1431572 h 1550870"/>
                <a:gd name="connsiteX13" fmla="*/ 59649 w 835083"/>
                <a:gd name="connsiteY13" fmla="*/ 119298 h 1550870"/>
                <a:gd name="connsiteX14" fmla="*/ 119298 w 835083"/>
                <a:gd name="connsiteY14" fmla="*/ 59649 h 1550870"/>
                <a:gd name="connsiteX15" fmla="*/ 715786 w 835083"/>
                <a:gd name="connsiteY15" fmla="*/ 59649 h 1550870"/>
                <a:gd name="connsiteX16" fmla="*/ 775435 w 835083"/>
                <a:gd name="connsiteY16" fmla="*/ 119298 h 1550870"/>
                <a:gd name="connsiteX17" fmla="*/ 775435 w 835083"/>
                <a:gd name="connsiteY17" fmla="*/ 1431572 h 1550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35083" h="1550870">
                  <a:moveTo>
                    <a:pt x="715786" y="0"/>
                  </a:moveTo>
                  <a:lnTo>
                    <a:pt x="119298" y="0"/>
                  </a:lnTo>
                  <a:cubicBezTo>
                    <a:pt x="53684" y="0"/>
                    <a:pt x="0" y="53684"/>
                    <a:pt x="0" y="119298"/>
                  </a:cubicBezTo>
                  <a:lnTo>
                    <a:pt x="0" y="1431572"/>
                  </a:lnTo>
                  <a:cubicBezTo>
                    <a:pt x="0" y="1497186"/>
                    <a:pt x="53684" y="1550870"/>
                    <a:pt x="119298" y="1550870"/>
                  </a:cubicBezTo>
                  <a:lnTo>
                    <a:pt x="715786" y="1550870"/>
                  </a:lnTo>
                  <a:cubicBezTo>
                    <a:pt x="781400" y="1550870"/>
                    <a:pt x="835084" y="1497186"/>
                    <a:pt x="835084" y="1431572"/>
                  </a:cubicBezTo>
                  <a:lnTo>
                    <a:pt x="835084" y="119298"/>
                  </a:lnTo>
                  <a:cubicBezTo>
                    <a:pt x="835084" y="53684"/>
                    <a:pt x="781400" y="0"/>
                    <a:pt x="715786" y="0"/>
                  </a:cubicBezTo>
                  <a:close/>
                  <a:moveTo>
                    <a:pt x="775435" y="1431572"/>
                  </a:moveTo>
                  <a:cubicBezTo>
                    <a:pt x="775435" y="1464379"/>
                    <a:pt x="748593" y="1491221"/>
                    <a:pt x="715786" y="1491221"/>
                  </a:cubicBezTo>
                  <a:lnTo>
                    <a:pt x="119298" y="1491221"/>
                  </a:lnTo>
                  <a:cubicBezTo>
                    <a:pt x="86491" y="1491221"/>
                    <a:pt x="59649" y="1464379"/>
                    <a:pt x="59649" y="1431572"/>
                  </a:cubicBezTo>
                  <a:lnTo>
                    <a:pt x="59649" y="119298"/>
                  </a:lnTo>
                  <a:cubicBezTo>
                    <a:pt x="59649" y="86491"/>
                    <a:pt x="86491" y="59649"/>
                    <a:pt x="119298" y="59649"/>
                  </a:cubicBezTo>
                  <a:lnTo>
                    <a:pt x="715786" y="59649"/>
                  </a:lnTo>
                  <a:cubicBezTo>
                    <a:pt x="748593" y="59649"/>
                    <a:pt x="775435" y="86491"/>
                    <a:pt x="775435" y="119298"/>
                  </a:cubicBezTo>
                  <a:lnTo>
                    <a:pt x="775435" y="1431572"/>
                  </a:lnTo>
                  <a:close/>
                </a:path>
              </a:pathLst>
            </a:custGeom>
            <a:solidFill>
              <a:srgbClr val="52C9FF"/>
            </a:solidFill>
            <a:ln w="14883"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180C7AD1-68D9-E59B-316A-846BBDA32976}"/>
                </a:ext>
              </a:extLst>
            </p:cNvPr>
            <p:cNvSpPr/>
            <p:nvPr/>
          </p:nvSpPr>
          <p:spPr>
            <a:xfrm>
              <a:off x="9161824" y="4630206"/>
              <a:ext cx="119297" cy="119297"/>
            </a:xfrm>
            <a:custGeom>
              <a:avLst/>
              <a:gdLst>
                <a:gd name="connsiteX0" fmla="*/ 119298 w 119297"/>
                <a:gd name="connsiteY0" fmla="*/ 59649 h 119297"/>
                <a:gd name="connsiteX1" fmla="*/ 59649 w 119297"/>
                <a:gd name="connsiteY1" fmla="*/ 119298 h 119297"/>
                <a:gd name="connsiteX2" fmla="*/ 0 w 119297"/>
                <a:gd name="connsiteY2" fmla="*/ 59649 h 119297"/>
                <a:gd name="connsiteX3" fmla="*/ 59649 w 119297"/>
                <a:gd name="connsiteY3" fmla="*/ 0 h 119297"/>
                <a:gd name="connsiteX4" fmla="*/ 119298 w 119297"/>
                <a:gd name="connsiteY4" fmla="*/ 59649 h 119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297" h="119297">
                  <a:moveTo>
                    <a:pt x="119298" y="59649"/>
                  </a:moveTo>
                  <a:cubicBezTo>
                    <a:pt x="119298" y="92592"/>
                    <a:pt x="92592" y="119298"/>
                    <a:pt x="59649" y="119298"/>
                  </a:cubicBezTo>
                  <a:cubicBezTo>
                    <a:pt x="26706" y="119298"/>
                    <a:pt x="0" y="92592"/>
                    <a:pt x="0" y="59649"/>
                  </a:cubicBezTo>
                  <a:cubicBezTo>
                    <a:pt x="0" y="26706"/>
                    <a:pt x="26706" y="0"/>
                    <a:pt x="59649" y="0"/>
                  </a:cubicBezTo>
                  <a:cubicBezTo>
                    <a:pt x="92592" y="0"/>
                    <a:pt x="119298" y="26706"/>
                    <a:pt x="119298" y="59649"/>
                  </a:cubicBezTo>
                  <a:close/>
                </a:path>
              </a:pathLst>
            </a:custGeom>
            <a:solidFill>
              <a:srgbClr val="52C9FF"/>
            </a:solidFill>
            <a:ln w="14883"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E8260683-77A7-2861-555D-E48B51128530}"/>
                </a:ext>
              </a:extLst>
            </p:cNvPr>
            <p:cNvSpPr/>
            <p:nvPr/>
          </p:nvSpPr>
          <p:spPr>
            <a:xfrm>
              <a:off x="8982877" y="4048629"/>
              <a:ext cx="477190" cy="29824"/>
            </a:xfrm>
            <a:custGeom>
              <a:avLst/>
              <a:gdLst>
                <a:gd name="connsiteX0" fmla="*/ 0 w 477190"/>
                <a:gd name="connsiteY0" fmla="*/ 0 h 29824"/>
                <a:gd name="connsiteX1" fmla="*/ 477191 w 477190"/>
                <a:gd name="connsiteY1" fmla="*/ 0 h 29824"/>
                <a:gd name="connsiteX2" fmla="*/ 477191 w 477190"/>
                <a:gd name="connsiteY2" fmla="*/ 29824 h 29824"/>
                <a:gd name="connsiteX3" fmla="*/ 0 w 477190"/>
                <a:gd name="connsiteY3" fmla="*/ 29824 h 29824"/>
              </a:gdLst>
              <a:ahLst/>
              <a:cxnLst>
                <a:cxn ang="0">
                  <a:pos x="connsiteX0" y="connsiteY0"/>
                </a:cxn>
                <a:cxn ang="0">
                  <a:pos x="connsiteX1" y="connsiteY1"/>
                </a:cxn>
                <a:cxn ang="0">
                  <a:pos x="connsiteX2" y="connsiteY2"/>
                </a:cxn>
                <a:cxn ang="0">
                  <a:pos x="connsiteX3" y="connsiteY3"/>
                </a:cxn>
              </a:cxnLst>
              <a:rect l="l" t="t" r="r" b="b"/>
              <a:pathLst>
                <a:path w="477190" h="29824">
                  <a:moveTo>
                    <a:pt x="0" y="0"/>
                  </a:moveTo>
                  <a:lnTo>
                    <a:pt x="477191" y="0"/>
                  </a:lnTo>
                  <a:lnTo>
                    <a:pt x="477191" y="29824"/>
                  </a:lnTo>
                  <a:lnTo>
                    <a:pt x="0" y="29824"/>
                  </a:lnTo>
                  <a:close/>
                </a:path>
              </a:pathLst>
            </a:custGeom>
            <a:solidFill>
              <a:srgbClr val="52C9FF"/>
            </a:solidFill>
            <a:ln w="14883"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8985F3CE-46F6-0E9D-CEA9-9688B745C7E7}"/>
                </a:ext>
              </a:extLst>
            </p:cNvPr>
            <p:cNvSpPr/>
            <p:nvPr/>
          </p:nvSpPr>
          <p:spPr>
            <a:xfrm>
              <a:off x="8982877" y="4108278"/>
              <a:ext cx="477190" cy="29824"/>
            </a:xfrm>
            <a:custGeom>
              <a:avLst/>
              <a:gdLst>
                <a:gd name="connsiteX0" fmla="*/ 0 w 477190"/>
                <a:gd name="connsiteY0" fmla="*/ 0 h 29824"/>
                <a:gd name="connsiteX1" fmla="*/ 477191 w 477190"/>
                <a:gd name="connsiteY1" fmla="*/ 0 h 29824"/>
                <a:gd name="connsiteX2" fmla="*/ 477191 w 477190"/>
                <a:gd name="connsiteY2" fmla="*/ 29824 h 29824"/>
                <a:gd name="connsiteX3" fmla="*/ 0 w 477190"/>
                <a:gd name="connsiteY3" fmla="*/ 29824 h 29824"/>
              </a:gdLst>
              <a:ahLst/>
              <a:cxnLst>
                <a:cxn ang="0">
                  <a:pos x="connsiteX0" y="connsiteY0"/>
                </a:cxn>
                <a:cxn ang="0">
                  <a:pos x="connsiteX1" y="connsiteY1"/>
                </a:cxn>
                <a:cxn ang="0">
                  <a:pos x="connsiteX2" y="connsiteY2"/>
                </a:cxn>
                <a:cxn ang="0">
                  <a:pos x="connsiteX3" y="connsiteY3"/>
                </a:cxn>
              </a:cxnLst>
              <a:rect l="l" t="t" r="r" b="b"/>
              <a:pathLst>
                <a:path w="477190" h="29824">
                  <a:moveTo>
                    <a:pt x="0" y="0"/>
                  </a:moveTo>
                  <a:lnTo>
                    <a:pt x="477191" y="0"/>
                  </a:lnTo>
                  <a:lnTo>
                    <a:pt x="477191" y="29824"/>
                  </a:lnTo>
                  <a:lnTo>
                    <a:pt x="0" y="29824"/>
                  </a:lnTo>
                  <a:close/>
                </a:path>
              </a:pathLst>
            </a:custGeom>
            <a:solidFill>
              <a:srgbClr val="52C9FF"/>
            </a:solidFill>
            <a:ln w="14883"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4165874F-9E82-D83F-A9C6-18B029136324}"/>
                </a:ext>
              </a:extLst>
            </p:cNvPr>
            <p:cNvSpPr/>
            <p:nvPr/>
          </p:nvSpPr>
          <p:spPr>
            <a:xfrm>
              <a:off x="8982877" y="4167927"/>
              <a:ext cx="298244" cy="29824"/>
            </a:xfrm>
            <a:custGeom>
              <a:avLst/>
              <a:gdLst>
                <a:gd name="connsiteX0" fmla="*/ 0 w 298244"/>
                <a:gd name="connsiteY0" fmla="*/ 0 h 29824"/>
                <a:gd name="connsiteX1" fmla="*/ 298244 w 298244"/>
                <a:gd name="connsiteY1" fmla="*/ 0 h 29824"/>
                <a:gd name="connsiteX2" fmla="*/ 298244 w 298244"/>
                <a:gd name="connsiteY2" fmla="*/ 29824 h 29824"/>
                <a:gd name="connsiteX3" fmla="*/ 0 w 298244"/>
                <a:gd name="connsiteY3" fmla="*/ 29824 h 29824"/>
              </a:gdLst>
              <a:ahLst/>
              <a:cxnLst>
                <a:cxn ang="0">
                  <a:pos x="connsiteX0" y="connsiteY0"/>
                </a:cxn>
                <a:cxn ang="0">
                  <a:pos x="connsiteX1" y="connsiteY1"/>
                </a:cxn>
                <a:cxn ang="0">
                  <a:pos x="connsiteX2" y="connsiteY2"/>
                </a:cxn>
                <a:cxn ang="0">
                  <a:pos x="connsiteX3" y="connsiteY3"/>
                </a:cxn>
              </a:cxnLst>
              <a:rect l="l" t="t" r="r" b="b"/>
              <a:pathLst>
                <a:path w="298244" h="29824">
                  <a:moveTo>
                    <a:pt x="0" y="0"/>
                  </a:moveTo>
                  <a:lnTo>
                    <a:pt x="298244" y="0"/>
                  </a:lnTo>
                  <a:lnTo>
                    <a:pt x="298244" y="29824"/>
                  </a:lnTo>
                  <a:lnTo>
                    <a:pt x="0" y="29824"/>
                  </a:lnTo>
                  <a:close/>
                </a:path>
              </a:pathLst>
            </a:custGeom>
            <a:solidFill>
              <a:srgbClr val="52C9FF"/>
            </a:solidFill>
            <a:ln w="14883"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60B88B43-9009-CDC0-963B-DC6B027116A4}"/>
                </a:ext>
              </a:extLst>
            </p:cNvPr>
            <p:cNvSpPr/>
            <p:nvPr/>
          </p:nvSpPr>
          <p:spPr>
            <a:xfrm>
              <a:off x="8982877" y="4227576"/>
              <a:ext cx="477190" cy="29824"/>
            </a:xfrm>
            <a:custGeom>
              <a:avLst/>
              <a:gdLst>
                <a:gd name="connsiteX0" fmla="*/ 0 w 477190"/>
                <a:gd name="connsiteY0" fmla="*/ 0 h 29824"/>
                <a:gd name="connsiteX1" fmla="*/ 477191 w 477190"/>
                <a:gd name="connsiteY1" fmla="*/ 0 h 29824"/>
                <a:gd name="connsiteX2" fmla="*/ 477191 w 477190"/>
                <a:gd name="connsiteY2" fmla="*/ 29824 h 29824"/>
                <a:gd name="connsiteX3" fmla="*/ 0 w 477190"/>
                <a:gd name="connsiteY3" fmla="*/ 29824 h 29824"/>
              </a:gdLst>
              <a:ahLst/>
              <a:cxnLst>
                <a:cxn ang="0">
                  <a:pos x="connsiteX0" y="connsiteY0"/>
                </a:cxn>
                <a:cxn ang="0">
                  <a:pos x="connsiteX1" y="connsiteY1"/>
                </a:cxn>
                <a:cxn ang="0">
                  <a:pos x="connsiteX2" y="connsiteY2"/>
                </a:cxn>
                <a:cxn ang="0">
                  <a:pos x="connsiteX3" y="connsiteY3"/>
                </a:cxn>
              </a:cxnLst>
              <a:rect l="l" t="t" r="r" b="b"/>
              <a:pathLst>
                <a:path w="477190" h="29824">
                  <a:moveTo>
                    <a:pt x="0" y="0"/>
                  </a:moveTo>
                  <a:lnTo>
                    <a:pt x="477191" y="0"/>
                  </a:lnTo>
                  <a:lnTo>
                    <a:pt x="477191" y="29824"/>
                  </a:lnTo>
                  <a:lnTo>
                    <a:pt x="0" y="29824"/>
                  </a:lnTo>
                  <a:close/>
                </a:path>
              </a:pathLst>
            </a:custGeom>
            <a:solidFill>
              <a:srgbClr val="52C9FF"/>
            </a:solidFill>
            <a:ln w="14883"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64AE4A6B-AE6A-0203-24D3-038D3E56551A}"/>
                </a:ext>
              </a:extLst>
            </p:cNvPr>
            <p:cNvSpPr/>
            <p:nvPr/>
          </p:nvSpPr>
          <p:spPr>
            <a:xfrm>
              <a:off x="8982877" y="4287225"/>
              <a:ext cx="477190" cy="29824"/>
            </a:xfrm>
            <a:custGeom>
              <a:avLst/>
              <a:gdLst>
                <a:gd name="connsiteX0" fmla="*/ 0 w 477190"/>
                <a:gd name="connsiteY0" fmla="*/ 0 h 29824"/>
                <a:gd name="connsiteX1" fmla="*/ 477191 w 477190"/>
                <a:gd name="connsiteY1" fmla="*/ 0 h 29824"/>
                <a:gd name="connsiteX2" fmla="*/ 477191 w 477190"/>
                <a:gd name="connsiteY2" fmla="*/ 29824 h 29824"/>
                <a:gd name="connsiteX3" fmla="*/ 0 w 477190"/>
                <a:gd name="connsiteY3" fmla="*/ 29824 h 29824"/>
              </a:gdLst>
              <a:ahLst/>
              <a:cxnLst>
                <a:cxn ang="0">
                  <a:pos x="connsiteX0" y="connsiteY0"/>
                </a:cxn>
                <a:cxn ang="0">
                  <a:pos x="connsiteX1" y="connsiteY1"/>
                </a:cxn>
                <a:cxn ang="0">
                  <a:pos x="connsiteX2" y="connsiteY2"/>
                </a:cxn>
                <a:cxn ang="0">
                  <a:pos x="connsiteX3" y="connsiteY3"/>
                </a:cxn>
              </a:cxnLst>
              <a:rect l="l" t="t" r="r" b="b"/>
              <a:pathLst>
                <a:path w="477190" h="29824">
                  <a:moveTo>
                    <a:pt x="0" y="0"/>
                  </a:moveTo>
                  <a:lnTo>
                    <a:pt x="477191" y="0"/>
                  </a:lnTo>
                  <a:lnTo>
                    <a:pt x="477191" y="29824"/>
                  </a:lnTo>
                  <a:lnTo>
                    <a:pt x="0" y="29824"/>
                  </a:lnTo>
                  <a:close/>
                </a:path>
              </a:pathLst>
            </a:custGeom>
            <a:solidFill>
              <a:srgbClr val="52C9FF"/>
            </a:solidFill>
            <a:ln w="14883"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F22CD18A-D335-76F4-7728-BE7E3552D201}"/>
                </a:ext>
              </a:extLst>
            </p:cNvPr>
            <p:cNvSpPr/>
            <p:nvPr/>
          </p:nvSpPr>
          <p:spPr>
            <a:xfrm>
              <a:off x="8982877" y="4346874"/>
              <a:ext cx="477190" cy="29824"/>
            </a:xfrm>
            <a:custGeom>
              <a:avLst/>
              <a:gdLst>
                <a:gd name="connsiteX0" fmla="*/ 0 w 477190"/>
                <a:gd name="connsiteY0" fmla="*/ 0 h 29824"/>
                <a:gd name="connsiteX1" fmla="*/ 477191 w 477190"/>
                <a:gd name="connsiteY1" fmla="*/ 0 h 29824"/>
                <a:gd name="connsiteX2" fmla="*/ 477191 w 477190"/>
                <a:gd name="connsiteY2" fmla="*/ 29824 h 29824"/>
                <a:gd name="connsiteX3" fmla="*/ 0 w 477190"/>
                <a:gd name="connsiteY3" fmla="*/ 29824 h 29824"/>
              </a:gdLst>
              <a:ahLst/>
              <a:cxnLst>
                <a:cxn ang="0">
                  <a:pos x="connsiteX0" y="connsiteY0"/>
                </a:cxn>
                <a:cxn ang="0">
                  <a:pos x="connsiteX1" y="connsiteY1"/>
                </a:cxn>
                <a:cxn ang="0">
                  <a:pos x="connsiteX2" y="connsiteY2"/>
                </a:cxn>
                <a:cxn ang="0">
                  <a:pos x="connsiteX3" y="connsiteY3"/>
                </a:cxn>
              </a:cxnLst>
              <a:rect l="l" t="t" r="r" b="b"/>
              <a:pathLst>
                <a:path w="477190" h="29824">
                  <a:moveTo>
                    <a:pt x="0" y="0"/>
                  </a:moveTo>
                  <a:lnTo>
                    <a:pt x="477191" y="0"/>
                  </a:lnTo>
                  <a:lnTo>
                    <a:pt x="477191" y="29824"/>
                  </a:lnTo>
                  <a:lnTo>
                    <a:pt x="0" y="29824"/>
                  </a:lnTo>
                  <a:close/>
                </a:path>
              </a:pathLst>
            </a:custGeom>
            <a:solidFill>
              <a:srgbClr val="52C9FF"/>
            </a:solidFill>
            <a:ln w="14883"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85425752-7BFA-76C2-EEDB-63D02EF79560}"/>
                </a:ext>
              </a:extLst>
            </p:cNvPr>
            <p:cNvSpPr/>
            <p:nvPr/>
          </p:nvSpPr>
          <p:spPr>
            <a:xfrm>
              <a:off x="8982877" y="4406523"/>
              <a:ext cx="477190" cy="29824"/>
            </a:xfrm>
            <a:custGeom>
              <a:avLst/>
              <a:gdLst>
                <a:gd name="connsiteX0" fmla="*/ 0 w 477190"/>
                <a:gd name="connsiteY0" fmla="*/ 0 h 29824"/>
                <a:gd name="connsiteX1" fmla="*/ 477191 w 477190"/>
                <a:gd name="connsiteY1" fmla="*/ 0 h 29824"/>
                <a:gd name="connsiteX2" fmla="*/ 477191 w 477190"/>
                <a:gd name="connsiteY2" fmla="*/ 29824 h 29824"/>
                <a:gd name="connsiteX3" fmla="*/ 0 w 477190"/>
                <a:gd name="connsiteY3" fmla="*/ 29824 h 29824"/>
              </a:gdLst>
              <a:ahLst/>
              <a:cxnLst>
                <a:cxn ang="0">
                  <a:pos x="connsiteX0" y="connsiteY0"/>
                </a:cxn>
                <a:cxn ang="0">
                  <a:pos x="connsiteX1" y="connsiteY1"/>
                </a:cxn>
                <a:cxn ang="0">
                  <a:pos x="connsiteX2" y="connsiteY2"/>
                </a:cxn>
                <a:cxn ang="0">
                  <a:pos x="connsiteX3" y="connsiteY3"/>
                </a:cxn>
              </a:cxnLst>
              <a:rect l="l" t="t" r="r" b="b"/>
              <a:pathLst>
                <a:path w="477190" h="29824">
                  <a:moveTo>
                    <a:pt x="0" y="0"/>
                  </a:moveTo>
                  <a:lnTo>
                    <a:pt x="477191" y="0"/>
                  </a:lnTo>
                  <a:lnTo>
                    <a:pt x="477191" y="29824"/>
                  </a:lnTo>
                  <a:lnTo>
                    <a:pt x="0" y="29824"/>
                  </a:lnTo>
                  <a:close/>
                </a:path>
              </a:pathLst>
            </a:custGeom>
            <a:solidFill>
              <a:srgbClr val="52C9FF"/>
            </a:solidFill>
            <a:ln w="14883"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BCF3003F-B3AD-0580-E6EC-90AB8E8ECCF0}"/>
                </a:ext>
              </a:extLst>
            </p:cNvPr>
            <p:cNvSpPr/>
            <p:nvPr/>
          </p:nvSpPr>
          <p:spPr>
            <a:xfrm>
              <a:off x="8982877" y="4466171"/>
              <a:ext cx="238595" cy="29824"/>
            </a:xfrm>
            <a:custGeom>
              <a:avLst/>
              <a:gdLst>
                <a:gd name="connsiteX0" fmla="*/ 0 w 238595"/>
                <a:gd name="connsiteY0" fmla="*/ 0 h 29824"/>
                <a:gd name="connsiteX1" fmla="*/ 238595 w 238595"/>
                <a:gd name="connsiteY1" fmla="*/ 0 h 29824"/>
                <a:gd name="connsiteX2" fmla="*/ 238595 w 238595"/>
                <a:gd name="connsiteY2" fmla="*/ 29824 h 29824"/>
                <a:gd name="connsiteX3" fmla="*/ 0 w 238595"/>
                <a:gd name="connsiteY3" fmla="*/ 29824 h 29824"/>
              </a:gdLst>
              <a:ahLst/>
              <a:cxnLst>
                <a:cxn ang="0">
                  <a:pos x="connsiteX0" y="connsiteY0"/>
                </a:cxn>
                <a:cxn ang="0">
                  <a:pos x="connsiteX1" y="connsiteY1"/>
                </a:cxn>
                <a:cxn ang="0">
                  <a:pos x="connsiteX2" y="connsiteY2"/>
                </a:cxn>
                <a:cxn ang="0">
                  <a:pos x="connsiteX3" y="connsiteY3"/>
                </a:cxn>
              </a:cxnLst>
              <a:rect l="l" t="t" r="r" b="b"/>
              <a:pathLst>
                <a:path w="238595" h="29824">
                  <a:moveTo>
                    <a:pt x="0" y="0"/>
                  </a:moveTo>
                  <a:lnTo>
                    <a:pt x="238595" y="0"/>
                  </a:lnTo>
                  <a:lnTo>
                    <a:pt x="238595" y="29824"/>
                  </a:lnTo>
                  <a:lnTo>
                    <a:pt x="0" y="29824"/>
                  </a:lnTo>
                  <a:close/>
                </a:path>
              </a:pathLst>
            </a:custGeom>
            <a:solidFill>
              <a:srgbClr val="52C9FF"/>
            </a:solidFill>
            <a:ln w="14883" cap="flat">
              <a:noFill/>
              <a:prstDash val="solid"/>
              <a:miter/>
            </a:ln>
          </p:spPr>
          <p:txBody>
            <a:bodyPr rtlCol="0" anchor="ctr"/>
            <a:lstStyle/>
            <a:p>
              <a:endParaRPr lang="en-US"/>
            </a:p>
          </p:txBody>
        </p:sp>
        <p:sp>
          <p:nvSpPr>
            <p:cNvPr id="91" name="IAV Vehicle">
              <a:extLst>
                <a:ext uri="{FF2B5EF4-FFF2-40B4-BE49-F238E27FC236}">
                  <a16:creationId xmlns:a16="http://schemas.microsoft.com/office/drawing/2014/main" id="{681DDB4D-AADB-3E6D-6620-17E650DEA268}"/>
                </a:ext>
              </a:extLst>
            </p:cNvPr>
            <p:cNvSpPr>
              <a:spLocks noChangeAspect="1" noEditPoints="1"/>
            </p:cNvSpPr>
            <p:nvPr/>
          </p:nvSpPr>
          <p:spPr bwMode="auto">
            <a:xfrm>
              <a:off x="8902035" y="3597243"/>
              <a:ext cx="638874" cy="245582"/>
            </a:xfrm>
            <a:custGeom>
              <a:avLst/>
              <a:gdLst>
                <a:gd name="T0" fmla="*/ 652 w 783"/>
                <a:gd name="T1" fmla="*/ 176 h 301"/>
                <a:gd name="T2" fmla="*/ 590 w 783"/>
                <a:gd name="T3" fmla="*/ 238 h 301"/>
                <a:gd name="T4" fmla="*/ 652 w 783"/>
                <a:gd name="T5" fmla="*/ 301 h 301"/>
                <a:gd name="T6" fmla="*/ 715 w 783"/>
                <a:gd name="T7" fmla="*/ 238 h 301"/>
                <a:gd name="T8" fmla="*/ 652 w 783"/>
                <a:gd name="T9" fmla="*/ 176 h 301"/>
                <a:gd name="T10" fmla="*/ 652 w 783"/>
                <a:gd name="T11" fmla="*/ 278 h 301"/>
                <a:gd name="T12" fmla="*/ 613 w 783"/>
                <a:gd name="T13" fmla="*/ 238 h 301"/>
                <a:gd name="T14" fmla="*/ 652 w 783"/>
                <a:gd name="T15" fmla="*/ 199 h 301"/>
                <a:gd name="T16" fmla="*/ 692 w 783"/>
                <a:gd name="T17" fmla="*/ 238 h 301"/>
                <a:gd name="T18" fmla="*/ 652 w 783"/>
                <a:gd name="T19" fmla="*/ 278 h 301"/>
                <a:gd name="T20" fmla="*/ 142 w 783"/>
                <a:gd name="T21" fmla="*/ 176 h 301"/>
                <a:gd name="T22" fmla="*/ 80 w 783"/>
                <a:gd name="T23" fmla="*/ 238 h 301"/>
                <a:gd name="T24" fmla="*/ 142 w 783"/>
                <a:gd name="T25" fmla="*/ 301 h 301"/>
                <a:gd name="T26" fmla="*/ 204 w 783"/>
                <a:gd name="T27" fmla="*/ 238 h 301"/>
                <a:gd name="T28" fmla="*/ 142 w 783"/>
                <a:gd name="T29" fmla="*/ 176 h 301"/>
                <a:gd name="T30" fmla="*/ 142 w 783"/>
                <a:gd name="T31" fmla="*/ 278 h 301"/>
                <a:gd name="T32" fmla="*/ 102 w 783"/>
                <a:gd name="T33" fmla="*/ 238 h 301"/>
                <a:gd name="T34" fmla="*/ 142 w 783"/>
                <a:gd name="T35" fmla="*/ 199 h 301"/>
                <a:gd name="T36" fmla="*/ 182 w 783"/>
                <a:gd name="T37" fmla="*/ 238 h 301"/>
                <a:gd name="T38" fmla="*/ 142 w 783"/>
                <a:gd name="T39" fmla="*/ 278 h 301"/>
                <a:gd name="T40" fmla="*/ 572 w 783"/>
                <a:gd name="T41" fmla="*/ 89 h 301"/>
                <a:gd name="T42" fmla="*/ 543 w 783"/>
                <a:gd name="T43" fmla="*/ 73 h 301"/>
                <a:gd name="T44" fmla="*/ 415 w 783"/>
                <a:gd name="T45" fmla="*/ 17 h 301"/>
                <a:gd name="T46" fmla="*/ 176 w 783"/>
                <a:gd name="T47" fmla="*/ 50 h 301"/>
                <a:gd name="T48" fmla="*/ 39 w 783"/>
                <a:gd name="T49" fmla="*/ 88 h 301"/>
                <a:gd name="T50" fmla="*/ 35 w 783"/>
                <a:gd name="T51" fmla="*/ 90 h 301"/>
                <a:gd name="T52" fmla="*/ 0 w 783"/>
                <a:gd name="T53" fmla="*/ 250 h 301"/>
                <a:gd name="T54" fmla="*/ 6 w 783"/>
                <a:gd name="T55" fmla="*/ 256 h 301"/>
                <a:gd name="T56" fmla="*/ 71 w 783"/>
                <a:gd name="T57" fmla="*/ 256 h 301"/>
                <a:gd name="T58" fmla="*/ 68 w 783"/>
                <a:gd name="T59" fmla="*/ 238 h 301"/>
                <a:gd name="T60" fmla="*/ 142 w 783"/>
                <a:gd name="T61" fmla="*/ 165 h 301"/>
                <a:gd name="T62" fmla="*/ 216 w 783"/>
                <a:gd name="T63" fmla="*/ 238 h 301"/>
                <a:gd name="T64" fmla="*/ 213 w 783"/>
                <a:gd name="T65" fmla="*/ 257 h 301"/>
                <a:gd name="T66" fmla="*/ 582 w 783"/>
                <a:gd name="T67" fmla="*/ 260 h 301"/>
                <a:gd name="T68" fmla="*/ 579 w 783"/>
                <a:gd name="T69" fmla="*/ 238 h 301"/>
                <a:gd name="T70" fmla="*/ 652 w 783"/>
                <a:gd name="T71" fmla="*/ 165 h 301"/>
                <a:gd name="T72" fmla="*/ 726 w 783"/>
                <a:gd name="T73" fmla="*/ 238 h 301"/>
                <a:gd name="T74" fmla="*/ 723 w 783"/>
                <a:gd name="T75" fmla="*/ 261 h 301"/>
                <a:gd name="T76" fmla="*/ 777 w 783"/>
                <a:gd name="T77" fmla="*/ 261 h 301"/>
                <a:gd name="T78" fmla="*/ 777 w 783"/>
                <a:gd name="T79" fmla="*/ 261 h 301"/>
                <a:gd name="T80" fmla="*/ 781 w 783"/>
                <a:gd name="T81" fmla="*/ 259 h 301"/>
                <a:gd name="T82" fmla="*/ 783 w 783"/>
                <a:gd name="T83" fmla="*/ 255 h 301"/>
                <a:gd name="T84" fmla="*/ 572 w 783"/>
                <a:gd name="T85" fmla="*/ 89 h 301"/>
                <a:gd name="T86" fmla="*/ 505 w 783"/>
                <a:gd name="T87" fmla="*/ 108 h 301"/>
                <a:gd name="T88" fmla="*/ 165 w 783"/>
                <a:gd name="T89" fmla="*/ 88 h 301"/>
                <a:gd name="T90" fmla="*/ 369 w 783"/>
                <a:gd name="T91" fmla="*/ 29 h 301"/>
                <a:gd name="T92" fmla="*/ 505 w 783"/>
                <a:gd name="T93" fmla="*/ 108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83" h="301">
                  <a:moveTo>
                    <a:pt x="652" y="176"/>
                  </a:moveTo>
                  <a:cubicBezTo>
                    <a:pt x="618" y="176"/>
                    <a:pt x="590" y="204"/>
                    <a:pt x="590" y="238"/>
                  </a:cubicBezTo>
                  <a:cubicBezTo>
                    <a:pt x="590" y="273"/>
                    <a:pt x="618" y="301"/>
                    <a:pt x="652" y="301"/>
                  </a:cubicBezTo>
                  <a:cubicBezTo>
                    <a:pt x="687" y="301"/>
                    <a:pt x="715" y="273"/>
                    <a:pt x="715" y="238"/>
                  </a:cubicBezTo>
                  <a:cubicBezTo>
                    <a:pt x="715" y="204"/>
                    <a:pt x="687" y="176"/>
                    <a:pt x="652" y="176"/>
                  </a:cubicBezTo>
                  <a:close/>
                  <a:moveTo>
                    <a:pt x="652" y="278"/>
                  </a:moveTo>
                  <a:cubicBezTo>
                    <a:pt x="630" y="278"/>
                    <a:pt x="613" y="260"/>
                    <a:pt x="613" y="238"/>
                  </a:cubicBezTo>
                  <a:cubicBezTo>
                    <a:pt x="613" y="217"/>
                    <a:pt x="630" y="199"/>
                    <a:pt x="652" y="199"/>
                  </a:cubicBezTo>
                  <a:cubicBezTo>
                    <a:pt x="674" y="199"/>
                    <a:pt x="692" y="217"/>
                    <a:pt x="692" y="238"/>
                  </a:cubicBezTo>
                  <a:cubicBezTo>
                    <a:pt x="692" y="260"/>
                    <a:pt x="674" y="278"/>
                    <a:pt x="652" y="278"/>
                  </a:cubicBezTo>
                  <a:close/>
                  <a:moveTo>
                    <a:pt x="142" y="176"/>
                  </a:moveTo>
                  <a:cubicBezTo>
                    <a:pt x="108" y="176"/>
                    <a:pt x="80" y="204"/>
                    <a:pt x="80" y="238"/>
                  </a:cubicBezTo>
                  <a:cubicBezTo>
                    <a:pt x="80" y="273"/>
                    <a:pt x="108" y="301"/>
                    <a:pt x="142" y="301"/>
                  </a:cubicBezTo>
                  <a:cubicBezTo>
                    <a:pt x="176" y="301"/>
                    <a:pt x="204" y="273"/>
                    <a:pt x="204" y="238"/>
                  </a:cubicBezTo>
                  <a:cubicBezTo>
                    <a:pt x="204" y="204"/>
                    <a:pt x="176" y="176"/>
                    <a:pt x="142" y="176"/>
                  </a:cubicBezTo>
                  <a:close/>
                  <a:moveTo>
                    <a:pt x="142" y="278"/>
                  </a:moveTo>
                  <a:cubicBezTo>
                    <a:pt x="120" y="278"/>
                    <a:pt x="102" y="260"/>
                    <a:pt x="102" y="238"/>
                  </a:cubicBezTo>
                  <a:cubicBezTo>
                    <a:pt x="102" y="217"/>
                    <a:pt x="120" y="199"/>
                    <a:pt x="142" y="199"/>
                  </a:cubicBezTo>
                  <a:cubicBezTo>
                    <a:pt x="164" y="199"/>
                    <a:pt x="182" y="217"/>
                    <a:pt x="182" y="238"/>
                  </a:cubicBezTo>
                  <a:cubicBezTo>
                    <a:pt x="182" y="260"/>
                    <a:pt x="164" y="278"/>
                    <a:pt x="142" y="278"/>
                  </a:cubicBezTo>
                  <a:close/>
                  <a:moveTo>
                    <a:pt x="572" y="89"/>
                  </a:moveTo>
                  <a:cubicBezTo>
                    <a:pt x="568" y="88"/>
                    <a:pt x="557" y="81"/>
                    <a:pt x="543" y="73"/>
                  </a:cubicBezTo>
                  <a:cubicBezTo>
                    <a:pt x="512" y="55"/>
                    <a:pt x="466" y="28"/>
                    <a:pt x="415" y="17"/>
                  </a:cubicBezTo>
                  <a:cubicBezTo>
                    <a:pt x="332" y="0"/>
                    <a:pt x="260" y="23"/>
                    <a:pt x="176" y="50"/>
                  </a:cubicBezTo>
                  <a:cubicBezTo>
                    <a:pt x="133" y="64"/>
                    <a:pt x="89" y="78"/>
                    <a:pt x="39" y="88"/>
                  </a:cubicBezTo>
                  <a:cubicBezTo>
                    <a:pt x="37" y="88"/>
                    <a:pt x="36" y="89"/>
                    <a:pt x="35" y="90"/>
                  </a:cubicBezTo>
                  <a:cubicBezTo>
                    <a:pt x="34" y="93"/>
                    <a:pt x="0" y="146"/>
                    <a:pt x="0" y="250"/>
                  </a:cubicBezTo>
                  <a:cubicBezTo>
                    <a:pt x="0" y="253"/>
                    <a:pt x="3" y="256"/>
                    <a:pt x="6" y="256"/>
                  </a:cubicBezTo>
                  <a:cubicBezTo>
                    <a:pt x="71" y="256"/>
                    <a:pt x="71" y="256"/>
                    <a:pt x="71" y="256"/>
                  </a:cubicBezTo>
                  <a:cubicBezTo>
                    <a:pt x="69" y="251"/>
                    <a:pt x="68" y="245"/>
                    <a:pt x="68" y="238"/>
                  </a:cubicBezTo>
                  <a:cubicBezTo>
                    <a:pt x="68" y="198"/>
                    <a:pt x="101" y="165"/>
                    <a:pt x="142" y="165"/>
                  </a:cubicBezTo>
                  <a:cubicBezTo>
                    <a:pt x="183" y="165"/>
                    <a:pt x="216" y="198"/>
                    <a:pt x="216" y="238"/>
                  </a:cubicBezTo>
                  <a:cubicBezTo>
                    <a:pt x="216" y="245"/>
                    <a:pt x="215" y="251"/>
                    <a:pt x="213" y="257"/>
                  </a:cubicBezTo>
                  <a:cubicBezTo>
                    <a:pt x="582" y="260"/>
                    <a:pt x="582" y="260"/>
                    <a:pt x="582" y="260"/>
                  </a:cubicBezTo>
                  <a:cubicBezTo>
                    <a:pt x="580" y="253"/>
                    <a:pt x="579" y="246"/>
                    <a:pt x="579" y="238"/>
                  </a:cubicBezTo>
                  <a:cubicBezTo>
                    <a:pt x="579" y="198"/>
                    <a:pt x="612" y="165"/>
                    <a:pt x="652" y="165"/>
                  </a:cubicBezTo>
                  <a:cubicBezTo>
                    <a:pt x="693" y="165"/>
                    <a:pt x="726" y="198"/>
                    <a:pt x="726" y="238"/>
                  </a:cubicBezTo>
                  <a:cubicBezTo>
                    <a:pt x="726" y="246"/>
                    <a:pt x="725" y="254"/>
                    <a:pt x="723" y="261"/>
                  </a:cubicBezTo>
                  <a:cubicBezTo>
                    <a:pt x="777" y="261"/>
                    <a:pt x="777" y="261"/>
                    <a:pt x="777" y="261"/>
                  </a:cubicBezTo>
                  <a:cubicBezTo>
                    <a:pt x="777" y="261"/>
                    <a:pt x="777" y="261"/>
                    <a:pt x="777" y="261"/>
                  </a:cubicBezTo>
                  <a:cubicBezTo>
                    <a:pt x="778" y="261"/>
                    <a:pt x="780" y="261"/>
                    <a:pt x="781" y="259"/>
                  </a:cubicBezTo>
                  <a:cubicBezTo>
                    <a:pt x="782" y="258"/>
                    <a:pt x="783" y="257"/>
                    <a:pt x="783" y="255"/>
                  </a:cubicBezTo>
                  <a:cubicBezTo>
                    <a:pt x="783" y="147"/>
                    <a:pt x="766" y="122"/>
                    <a:pt x="572" y="89"/>
                  </a:cubicBezTo>
                  <a:close/>
                  <a:moveTo>
                    <a:pt x="505" y="108"/>
                  </a:moveTo>
                  <a:cubicBezTo>
                    <a:pt x="459" y="119"/>
                    <a:pt x="165" y="88"/>
                    <a:pt x="165" y="88"/>
                  </a:cubicBezTo>
                  <a:cubicBezTo>
                    <a:pt x="165" y="88"/>
                    <a:pt x="279" y="29"/>
                    <a:pt x="369" y="29"/>
                  </a:cubicBezTo>
                  <a:cubicBezTo>
                    <a:pt x="449" y="29"/>
                    <a:pt x="546" y="98"/>
                    <a:pt x="505" y="1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93" name="Oval 92">
            <a:extLst>
              <a:ext uri="{FF2B5EF4-FFF2-40B4-BE49-F238E27FC236}">
                <a16:creationId xmlns:a16="http://schemas.microsoft.com/office/drawing/2014/main" id="{52C299B1-3940-0279-4373-FF0DA07368F4}"/>
              </a:ext>
            </a:extLst>
          </p:cNvPr>
          <p:cNvSpPr/>
          <p:nvPr/>
        </p:nvSpPr>
        <p:spPr>
          <a:xfrm>
            <a:off x="3633523" y="3201627"/>
            <a:ext cx="394798" cy="39479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tIns="18288" rIns="144000" bIns="144000" rtlCol="0" anchor="t"/>
          <a:lstStyle/>
          <a:p>
            <a:pPr algn="l">
              <a:spcBef>
                <a:spcPts val="800"/>
              </a:spcBef>
            </a:pPr>
            <a:r>
              <a:rPr lang="en-US" sz="1600" dirty="0"/>
              <a:t>4</a:t>
            </a:r>
          </a:p>
        </p:txBody>
      </p:sp>
      <p:cxnSp>
        <p:nvCxnSpPr>
          <p:cNvPr id="96" name="Straight Arrow Connector 95">
            <a:extLst>
              <a:ext uri="{FF2B5EF4-FFF2-40B4-BE49-F238E27FC236}">
                <a16:creationId xmlns:a16="http://schemas.microsoft.com/office/drawing/2014/main" id="{EB193B2D-0945-060B-BAD8-667A4F72B214}"/>
              </a:ext>
            </a:extLst>
          </p:cNvPr>
          <p:cNvCxnSpPr>
            <a:cxnSpLocks/>
          </p:cNvCxnSpPr>
          <p:nvPr/>
        </p:nvCxnSpPr>
        <p:spPr>
          <a:xfrm flipH="1">
            <a:off x="3453299" y="3744739"/>
            <a:ext cx="1238343" cy="0"/>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80FB3EFC-1C18-95A6-DE14-D9FB1389168A}"/>
              </a:ext>
            </a:extLst>
          </p:cNvPr>
          <p:cNvSpPr txBox="1"/>
          <p:nvPr/>
        </p:nvSpPr>
        <p:spPr>
          <a:xfrm>
            <a:off x="3800237" y="3879026"/>
            <a:ext cx="717869" cy="1064394"/>
          </a:xfrm>
          <a:prstGeom prst="rect">
            <a:avLst/>
          </a:prstGeom>
          <a:noFill/>
          <a:ln>
            <a:solidFill>
              <a:srgbClr val="001A54"/>
            </a:solidFill>
          </a:ln>
        </p:spPr>
        <p:txBody>
          <a:bodyPr wrap="square" lIns="54864" tIns="0" rIns="0" bIns="0" rtlCol="0">
            <a:spAutoFit/>
          </a:bodyPr>
          <a:lstStyle/>
          <a:p>
            <a:pPr algn="l">
              <a:lnSpc>
                <a:spcPct val="120000"/>
              </a:lnSpc>
              <a:spcBef>
                <a:spcPts val="800"/>
              </a:spcBef>
            </a:pPr>
            <a:r>
              <a:rPr lang="en-US" sz="1600" dirty="0"/>
              <a:t>unlock</a:t>
            </a:r>
          </a:p>
          <a:p>
            <a:pPr algn="l">
              <a:lnSpc>
                <a:spcPct val="120000"/>
              </a:lnSpc>
              <a:spcBef>
                <a:spcPts val="800"/>
              </a:spcBef>
            </a:pPr>
            <a:r>
              <a:rPr lang="en-US" sz="1600" dirty="0"/>
              <a:t>start</a:t>
            </a:r>
          </a:p>
          <a:p>
            <a:pPr algn="l">
              <a:lnSpc>
                <a:spcPct val="120000"/>
              </a:lnSpc>
              <a:spcBef>
                <a:spcPts val="800"/>
              </a:spcBef>
            </a:pPr>
            <a:r>
              <a:rPr lang="en-US" sz="1600" dirty="0"/>
              <a:t>…</a:t>
            </a:r>
          </a:p>
        </p:txBody>
      </p:sp>
      <p:sp>
        <p:nvSpPr>
          <p:cNvPr id="112" name="Oval 111">
            <a:extLst>
              <a:ext uri="{FF2B5EF4-FFF2-40B4-BE49-F238E27FC236}">
                <a16:creationId xmlns:a16="http://schemas.microsoft.com/office/drawing/2014/main" id="{387C3199-2D0C-F794-2BD4-3B0F7A21A386}"/>
              </a:ext>
            </a:extLst>
          </p:cNvPr>
          <p:cNvSpPr/>
          <p:nvPr/>
        </p:nvSpPr>
        <p:spPr>
          <a:xfrm>
            <a:off x="3791462" y="48780"/>
            <a:ext cx="394798" cy="39479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tIns="18288" rIns="144000" bIns="144000" rtlCol="0" anchor="t"/>
          <a:lstStyle/>
          <a:p>
            <a:pPr algn="l">
              <a:spcBef>
                <a:spcPts val="800"/>
              </a:spcBef>
            </a:pPr>
            <a:r>
              <a:rPr lang="en-US" sz="1600" dirty="0"/>
              <a:t>5</a:t>
            </a:r>
          </a:p>
        </p:txBody>
      </p:sp>
      <p:sp>
        <p:nvSpPr>
          <p:cNvPr id="116" name="TextBox 115">
            <a:extLst>
              <a:ext uri="{FF2B5EF4-FFF2-40B4-BE49-F238E27FC236}">
                <a16:creationId xmlns:a16="http://schemas.microsoft.com/office/drawing/2014/main" id="{A5230B14-6482-7F4B-0E28-70B92CBB6086}"/>
              </a:ext>
            </a:extLst>
          </p:cNvPr>
          <p:cNvSpPr txBox="1"/>
          <p:nvPr/>
        </p:nvSpPr>
        <p:spPr>
          <a:xfrm>
            <a:off x="4260243" y="19343"/>
            <a:ext cx="1480815" cy="1064394"/>
          </a:xfrm>
          <a:prstGeom prst="rect">
            <a:avLst/>
          </a:prstGeom>
          <a:noFill/>
          <a:ln>
            <a:solidFill>
              <a:srgbClr val="001A54"/>
            </a:solidFill>
          </a:ln>
        </p:spPr>
        <p:txBody>
          <a:bodyPr wrap="square" lIns="54864" tIns="0" rIns="0" bIns="0" rtlCol="0">
            <a:spAutoFit/>
          </a:bodyPr>
          <a:lstStyle/>
          <a:p>
            <a:pPr algn="l">
              <a:lnSpc>
                <a:spcPct val="120000"/>
              </a:lnSpc>
              <a:spcBef>
                <a:spcPts val="800"/>
              </a:spcBef>
            </a:pPr>
            <a:r>
              <a:rPr lang="en-US" sz="1600" dirty="0"/>
              <a:t>Name</a:t>
            </a:r>
          </a:p>
          <a:p>
            <a:pPr algn="l">
              <a:lnSpc>
                <a:spcPct val="120000"/>
              </a:lnSpc>
              <a:spcBef>
                <a:spcPts val="800"/>
              </a:spcBef>
            </a:pPr>
            <a:r>
              <a:rPr lang="en-US" sz="1600" dirty="0"/>
              <a:t>Phone number</a:t>
            </a:r>
          </a:p>
          <a:p>
            <a:pPr algn="l">
              <a:lnSpc>
                <a:spcPct val="120000"/>
              </a:lnSpc>
              <a:spcBef>
                <a:spcPts val="800"/>
              </a:spcBef>
            </a:pPr>
            <a:r>
              <a:rPr lang="en-US" sz="1600" dirty="0"/>
              <a:t>Email</a:t>
            </a:r>
          </a:p>
        </p:txBody>
      </p:sp>
      <p:cxnSp>
        <p:nvCxnSpPr>
          <p:cNvPr id="121" name="Connector: Elbow 120">
            <a:extLst>
              <a:ext uri="{FF2B5EF4-FFF2-40B4-BE49-F238E27FC236}">
                <a16:creationId xmlns:a16="http://schemas.microsoft.com/office/drawing/2014/main" id="{B92863FA-E631-FB89-C332-633BF247C433}"/>
              </a:ext>
            </a:extLst>
          </p:cNvPr>
          <p:cNvCxnSpPr>
            <a:cxnSpLocks/>
          </p:cNvCxnSpPr>
          <p:nvPr/>
        </p:nvCxnSpPr>
        <p:spPr>
          <a:xfrm flipV="1">
            <a:off x="2953317" y="511021"/>
            <a:ext cx="955408" cy="262144"/>
          </a:xfrm>
          <a:prstGeom prst="bentConnector3">
            <a:avLst>
              <a:gd name="adj1" fmla="val 1874"/>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CD552413-1D70-6AB1-EF7D-ED23EC95AF0F}"/>
              </a:ext>
            </a:extLst>
          </p:cNvPr>
          <p:cNvSpPr txBox="1"/>
          <p:nvPr/>
        </p:nvSpPr>
        <p:spPr>
          <a:xfrm>
            <a:off x="8578890" y="4939428"/>
            <a:ext cx="1723118" cy="335413"/>
          </a:xfrm>
          <a:prstGeom prst="rect">
            <a:avLst/>
          </a:prstGeom>
          <a:noFill/>
        </p:spPr>
        <p:txBody>
          <a:bodyPr wrap="square" lIns="0" tIns="0" rIns="0" bIns="0" rtlCol="0">
            <a:spAutoFit/>
          </a:bodyPr>
          <a:lstStyle/>
          <a:p>
            <a:pPr algn="l">
              <a:lnSpc>
                <a:spcPct val="120000"/>
              </a:lnSpc>
              <a:spcBef>
                <a:spcPts val="800"/>
              </a:spcBef>
            </a:pPr>
            <a:r>
              <a:rPr lang="en-US" sz="2000" dirty="0"/>
              <a:t>Mobile App</a:t>
            </a:r>
          </a:p>
        </p:txBody>
      </p:sp>
      <p:sp>
        <p:nvSpPr>
          <p:cNvPr id="7" name="TextBox 6">
            <a:extLst>
              <a:ext uri="{FF2B5EF4-FFF2-40B4-BE49-F238E27FC236}">
                <a16:creationId xmlns:a16="http://schemas.microsoft.com/office/drawing/2014/main" id="{8490A82F-F591-6D9F-0BB8-A9AB38BD5CC2}"/>
              </a:ext>
            </a:extLst>
          </p:cNvPr>
          <p:cNvSpPr txBox="1"/>
          <p:nvPr/>
        </p:nvSpPr>
        <p:spPr>
          <a:xfrm>
            <a:off x="1726311" y="4939428"/>
            <a:ext cx="1723118" cy="335413"/>
          </a:xfrm>
          <a:prstGeom prst="rect">
            <a:avLst/>
          </a:prstGeom>
          <a:noFill/>
        </p:spPr>
        <p:txBody>
          <a:bodyPr wrap="square" lIns="0" tIns="0" rIns="0" bIns="0" rtlCol="0">
            <a:spAutoFit/>
          </a:bodyPr>
          <a:lstStyle/>
          <a:p>
            <a:pPr algn="l">
              <a:lnSpc>
                <a:spcPct val="120000"/>
              </a:lnSpc>
              <a:spcBef>
                <a:spcPts val="800"/>
              </a:spcBef>
            </a:pPr>
            <a:r>
              <a:rPr lang="en-US" sz="2000" dirty="0"/>
              <a:t>Vehicle</a:t>
            </a:r>
          </a:p>
        </p:txBody>
      </p:sp>
      <p:graphicFrame>
        <p:nvGraphicFramePr>
          <p:cNvPr id="10" name="Table 9">
            <a:extLst>
              <a:ext uri="{FF2B5EF4-FFF2-40B4-BE49-F238E27FC236}">
                <a16:creationId xmlns:a16="http://schemas.microsoft.com/office/drawing/2014/main" id="{880AF0E3-128E-2545-39CC-BE1698824CA0}"/>
              </a:ext>
            </a:extLst>
          </p:cNvPr>
          <p:cNvGraphicFramePr>
            <a:graphicFrameLocks noGrp="1"/>
          </p:cNvGraphicFramePr>
          <p:nvPr>
            <p:extLst>
              <p:ext uri="{D42A27DB-BD31-4B8C-83A1-F6EECF244321}">
                <p14:modId xmlns:p14="http://schemas.microsoft.com/office/powerpoint/2010/main" val="4288375631"/>
              </p:ext>
            </p:extLst>
          </p:nvPr>
        </p:nvGraphicFramePr>
        <p:xfrm>
          <a:off x="83449" y="920567"/>
          <a:ext cx="4051002" cy="1230882"/>
        </p:xfrm>
        <a:graphic>
          <a:graphicData uri="http://schemas.openxmlformats.org/drawingml/2006/table">
            <a:tbl>
              <a:tblPr firstRow="1" bandRow="1">
                <a:tableStyleId>{5C22544A-7EE6-4342-B048-85BDC9FD1C3A}</a:tableStyleId>
              </a:tblPr>
              <a:tblGrid>
                <a:gridCol w="2123566">
                  <a:extLst>
                    <a:ext uri="{9D8B030D-6E8A-4147-A177-3AD203B41FA5}">
                      <a16:colId xmlns:a16="http://schemas.microsoft.com/office/drawing/2014/main" val="781408958"/>
                    </a:ext>
                  </a:extLst>
                </a:gridCol>
                <a:gridCol w="1927436">
                  <a:extLst>
                    <a:ext uri="{9D8B030D-6E8A-4147-A177-3AD203B41FA5}">
                      <a16:colId xmlns:a16="http://schemas.microsoft.com/office/drawing/2014/main" val="172750854"/>
                    </a:ext>
                  </a:extLst>
                </a:gridCol>
              </a:tblGrid>
              <a:tr h="310641">
                <a:tc>
                  <a:txBody>
                    <a:bodyPr/>
                    <a:lstStyle/>
                    <a:p>
                      <a:r>
                        <a:rPr lang="en-US" sz="1400" dirty="0"/>
                        <a:t>VIN</a:t>
                      </a:r>
                    </a:p>
                  </a:txBody>
                  <a:tcPr/>
                </a:tc>
                <a:tc>
                  <a:txBody>
                    <a:bodyPr/>
                    <a:lstStyle/>
                    <a:p>
                      <a:r>
                        <a:rPr lang="en-US" sz="1400" dirty="0"/>
                        <a:t>Owner</a:t>
                      </a:r>
                    </a:p>
                  </a:txBody>
                  <a:tcPr/>
                </a:tc>
                <a:extLst>
                  <a:ext uri="{0D108BD9-81ED-4DB2-BD59-A6C34878D82A}">
                    <a16:rowId xmlns:a16="http://schemas.microsoft.com/office/drawing/2014/main" val="4230815711"/>
                  </a:ext>
                </a:extLst>
              </a:tr>
              <a:tr h="267677">
                <a:tc>
                  <a: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3C4PDDBGXET197449</a:t>
                      </a:r>
                    </a:p>
                  </a:txBody>
                  <a:tcPr/>
                </a:tc>
                <a:tc>
                  <a:txBody>
                    <a:bodyPr/>
                    <a:lstStyle/>
                    <a:p>
                      <a:r>
                        <a:rPr lang="en-US" sz="1400" dirty="0" err="1"/>
                        <a:t>User_A</a:t>
                      </a:r>
                      <a:endParaRPr lang="en-US" sz="1400" dirty="0"/>
                    </a:p>
                  </a:txBody>
                  <a:tcPr/>
                </a:tc>
                <a:extLst>
                  <a:ext uri="{0D108BD9-81ED-4DB2-BD59-A6C34878D82A}">
                    <a16:rowId xmlns:a16="http://schemas.microsoft.com/office/drawing/2014/main" val="1360482526"/>
                  </a:ext>
                </a:extLst>
              </a:tr>
              <a:tr h="267677">
                <a:tc>
                  <a: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1GHDT13S222114062</a:t>
                      </a:r>
                    </a:p>
                  </a:txBody>
                  <a:tcPr/>
                </a:tc>
                <a:tc>
                  <a:txBody>
                    <a:bodyPr/>
                    <a:lstStyle/>
                    <a:p>
                      <a:r>
                        <a:rPr lang="en-US" sz="1400" dirty="0" err="1"/>
                        <a:t>User_B</a:t>
                      </a:r>
                      <a:endParaRPr lang="en-US" sz="1400" dirty="0"/>
                    </a:p>
                  </a:txBody>
                  <a:tcPr/>
                </a:tc>
                <a:extLst>
                  <a:ext uri="{0D108BD9-81ED-4DB2-BD59-A6C34878D82A}">
                    <a16:rowId xmlns:a16="http://schemas.microsoft.com/office/drawing/2014/main" val="3281340745"/>
                  </a:ext>
                </a:extLst>
              </a:tr>
              <a:tr h="310641">
                <a:tc>
                  <a: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US" sz="1400" b="0" i="0" kern="1200" dirty="0">
                          <a:solidFill>
                            <a:srgbClr val="C00000"/>
                          </a:solidFill>
                          <a:effectLst/>
                          <a:latin typeface="+mn-lt"/>
                          <a:ea typeface="+mn-ea"/>
                          <a:cs typeface="+mn-cs"/>
                        </a:rPr>
                        <a:t>1GHDT13S222114062</a:t>
                      </a:r>
                    </a:p>
                  </a:txBody>
                  <a:tcPr/>
                </a:tc>
                <a:tc>
                  <a:txBody>
                    <a:bodyPr/>
                    <a:lstStyle/>
                    <a:p>
                      <a:r>
                        <a:rPr lang="en-US" sz="1400" dirty="0" err="1">
                          <a:solidFill>
                            <a:srgbClr val="C00000"/>
                          </a:solidFill>
                        </a:rPr>
                        <a:t>Attacker_account</a:t>
                      </a:r>
                      <a:endParaRPr lang="en-US" sz="1400" dirty="0">
                        <a:solidFill>
                          <a:srgbClr val="C00000"/>
                        </a:solidFill>
                      </a:endParaRPr>
                    </a:p>
                  </a:txBody>
                  <a:tcPr/>
                </a:tc>
                <a:extLst>
                  <a:ext uri="{0D108BD9-81ED-4DB2-BD59-A6C34878D82A}">
                    <a16:rowId xmlns:a16="http://schemas.microsoft.com/office/drawing/2014/main" val="3553383612"/>
                  </a:ext>
                </a:extLst>
              </a:tr>
            </a:tbl>
          </a:graphicData>
        </a:graphic>
      </p:graphicFrame>
      <p:grpSp>
        <p:nvGrpSpPr>
          <p:cNvPr id="20" name="easyIcon">
            <a:extLst>
              <a:ext uri="{FF2B5EF4-FFF2-40B4-BE49-F238E27FC236}">
                <a16:creationId xmlns:a16="http://schemas.microsoft.com/office/drawing/2014/main" id="{8A6EBE27-0654-D6E0-0F1A-AA18BB0CD48E}"/>
              </a:ext>
            </a:extLst>
          </p:cNvPr>
          <p:cNvGrpSpPr>
            <a:grpSpLocks noChangeAspect="1"/>
          </p:cNvGrpSpPr>
          <p:nvPr>
            <p:custDataLst>
              <p:tags r:id="rId4"/>
            </p:custDataLst>
          </p:nvPr>
        </p:nvGrpSpPr>
        <p:grpSpPr>
          <a:xfrm>
            <a:off x="5847593" y="19343"/>
            <a:ext cx="720000" cy="720000"/>
            <a:chOff x="3823449" y="3240449"/>
            <a:chExt cx="720000" cy="720000"/>
          </a:xfrm>
        </p:grpSpPr>
        <p:sp>
          <p:nvSpPr>
            <p:cNvPr id="22" name="backgroundFixed">
              <a:extLst>
                <a:ext uri="{FF2B5EF4-FFF2-40B4-BE49-F238E27FC236}">
                  <a16:creationId xmlns:a16="http://schemas.microsoft.com/office/drawing/2014/main" id="{5D0B0F1F-8805-DF2B-AB94-A7A5E2B7C7F3}"/>
                </a:ext>
              </a:extLst>
            </p:cNvPr>
            <p:cNvSpPr/>
            <p:nvPr>
              <p:custDataLst>
                <p:tags r:id="rId5"/>
              </p:custDataLst>
            </p:nvPr>
          </p:nvSpPr>
          <p:spPr>
            <a:xfrm>
              <a:off x="3823449" y="3240449"/>
              <a:ext cx="720000" cy="720000"/>
            </a:xfrm>
            <a:prstGeom prst="ellipse">
              <a:avLst/>
            </a:prstGeom>
            <a:solidFill>
              <a:srgbClr val="C00000"/>
            </a:solidFill>
            <a:ln w="6350" cap="flat" cmpd="sng" algn="ctr">
              <a:solidFill>
                <a:srgbClr val="C0000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25" name="Vector">
              <a:extLst>
                <a:ext uri="{FF2B5EF4-FFF2-40B4-BE49-F238E27FC236}">
                  <a16:creationId xmlns:a16="http://schemas.microsoft.com/office/drawing/2014/main" id="{8F4BAD73-3EB4-B448-F28D-A4395C94E005}"/>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bwMode="gray">
            <a:xfrm>
              <a:off x="3823449" y="3240449"/>
              <a:ext cx="720000" cy="720000"/>
            </a:xfrm>
            <a:prstGeom prst="rect">
              <a:avLst/>
            </a:prstGeom>
          </p:spPr>
        </p:pic>
      </p:grpSp>
    </p:spTree>
    <p:extLst>
      <p:ext uri="{BB962C8B-B14F-4D97-AF65-F5344CB8AC3E}">
        <p14:creationId xmlns:p14="http://schemas.microsoft.com/office/powerpoint/2010/main" val="41580563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1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1" nodeType="clickEffect">
                                  <p:stCondLst>
                                    <p:cond delay="0"/>
                                  </p:stCondLst>
                                  <p:childTnLst>
                                    <p:set>
                                      <p:cBhvr>
                                        <p:cTn id="45" dur="1" fill="hold">
                                          <p:stCondLst>
                                            <p:cond delay="0"/>
                                          </p:stCondLst>
                                        </p:cTn>
                                        <p:tgtEl>
                                          <p:spTgt spid="78"/>
                                        </p:tgtEl>
                                        <p:attrNameLst>
                                          <p:attrName>style.visibility</p:attrName>
                                        </p:attrNameLst>
                                      </p:cBhvr>
                                      <p:to>
                                        <p:strVal val="visible"/>
                                      </p:to>
                                    </p:set>
                                    <p:animEffect transition="in" filter="fade">
                                      <p:cBhvr>
                                        <p:cTn id="46" dur="500"/>
                                        <p:tgtEl>
                                          <p:spTgt spid="78"/>
                                        </p:tgtEl>
                                      </p:cBhvr>
                                    </p:animEffect>
                                  </p:childTnLst>
                                </p:cTn>
                              </p:par>
                            </p:childTnLst>
                          </p:cTn>
                        </p:par>
                      </p:childTnLst>
                    </p:cTn>
                  </p:par>
                  <p:par>
                    <p:cTn id="47" fill="hold">
                      <p:stCondLst>
                        <p:cond delay="indefinite"/>
                      </p:stCondLst>
                      <p:childTnLst>
                        <p:par>
                          <p:cTn id="48" fill="hold">
                            <p:stCondLst>
                              <p:cond delay="0"/>
                            </p:stCondLst>
                            <p:childTnLst>
                              <p:par>
                                <p:cTn id="49" presetID="19" presetClass="emph" presetSubtype="0" fill="hold" grpId="0" nodeType="clickEffect">
                                  <p:stCondLst>
                                    <p:cond delay="0"/>
                                  </p:stCondLst>
                                  <p:childTnLst>
                                    <p:animClr clrSpc="rgb" dir="cw">
                                      <p:cBhvr override="childStyle">
                                        <p:cTn id="50" dur="500" fill="hold"/>
                                        <p:tgtEl>
                                          <p:spTgt spid="78"/>
                                        </p:tgtEl>
                                        <p:attrNameLst>
                                          <p:attrName>style.color</p:attrName>
                                        </p:attrNameLst>
                                      </p:cBhvr>
                                      <p:to>
                                        <a:srgbClr val="C00000"/>
                                      </p:to>
                                    </p:animClr>
                                    <p:animClr clrSpc="rgb" dir="cw">
                                      <p:cBhvr>
                                        <p:cTn id="51" dur="500" fill="hold"/>
                                        <p:tgtEl>
                                          <p:spTgt spid="78"/>
                                        </p:tgtEl>
                                        <p:attrNameLst>
                                          <p:attrName>fillcolor</p:attrName>
                                        </p:attrNameLst>
                                      </p:cBhvr>
                                      <p:to>
                                        <a:srgbClr val="C00000"/>
                                      </p:to>
                                    </p:animClr>
                                    <p:set>
                                      <p:cBhvr>
                                        <p:cTn id="52" dur="500" fill="hold"/>
                                        <p:tgtEl>
                                          <p:spTgt spid="78"/>
                                        </p:tgtEl>
                                        <p:attrNameLst>
                                          <p:attrName>fill.type</p:attrName>
                                        </p:attrNameLst>
                                      </p:cBhvr>
                                      <p:to>
                                        <p:strVal val="solid"/>
                                      </p:to>
                                    </p:set>
                                    <p:set>
                                      <p:cBhvr>
                                        <p:cTn id="53" dur="500" fill="hold"/>
                                        <p:tgtEl>
                                          <p:spTgt spid="78"/>
                                        </p:tgtEl>
                                        <p:attrNameLst>
                                          <p:attrName>fill.on</p:attrName>
                                        </p:attrNameLst>
                                      </p:cBhvr>
                                      <p:to>
                                        <p:strVal val="true"/>
                                      </p:to>
                                    </p:set>
                                  </p:childTnLst>
                                </p:cTn>
                              </p:par>
                              <p:par>
                                <p:cTn id="54" presetID="19" presetClass="emph" presetSubtype="0" fill="hold" grpId="0" nodeType="withEffect">
                                  <p:stCondLst>
                                    <p:cond delay="0"/>
                                  </p:stCondLst>
                                  <p:childTnLst>
                                    <p:animClr clrSpc="rgb" dir="cw">
                                      <p:cBhvr override="childStyle">
                                        <p:cTn id="55" dur="500" fill="hold"/>
                                        <p:tgtEl>
                                          <p:spTgt spid="12"/>
                                        </p:tgtEl>
                                        <p:attrNameLst>
                                          <p:attrName>style.color</p:attrName>
                                        </p:attrNameLst>
                                      </p:cBhvr>
                                      <p:to>
                                        <a:srgbClr val="C00000"/>
                                      </p:to>
                                    </p:animClr>
                                    <p:animClr clrSpc="rgb" dir="cw">
                                      <p:cBhvr>
                                        <p:cTn id="56" dur="500" fill="hold"/>
                                        <p:tgtEl>
                                          <p:spTgt spid="12"/>
                                        </p:tgtEl>
                                        <p:attrNameLst>
                                          <p:attrName>fillcolor</p:attrName>
                                        </p:attrNameLst>
                                      </p:cBhvr>
                                      <p:to>
                                        <a:srgbClr val="C00000"/>
                                      </p:to>
                                    </p:animClr>
                                    <p:set>
                                      <p:cBhvr>
                                        <p:cTn id="57" dur="500" fill="hold"/>
                                        <p:tgtEl>
                                          <p:spTgt spid="12"/>
                                        </p:tgtEl>
                                        <p:attrNameLst>
                                          <p:attrName>fill.type</p:attrName>
                                        </p:attrNameLst>
                                      </p:cBhvr>
                                      <p:to>
                                        <p:strVal val="solid"/>
                                      </p:to>
                                    </p:set>
                                    <p:set>
                                      <p:cBhvr>
                                        <p:cTn id="58" dur="500" fill="hold"/>
                                        <p:tgtEl>
                                          <p:spTgt spid="12"/>
                                        </p:tgtEl>
                                        <p:attrNameLst>
                                          <p:attrName>fill.on</p:attrName>
                                        </p:attrNameLst>
                                      </p:cBhvr>
                                      <p:to>
                                        <p:strVal val="tru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93"/>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96"/>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97"/>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112"/>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16"/>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21"/>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3" grpId="0"/>
      <p:bldP spid="24" grpId="0" animBg="1"/>
      <p:bldP spid="38" grpId="0" animBg="1"/>
      <p:bldP spid="49" grpId="0" animBg="1"/>
      <p:bldP spid="53" grpId="0"/>
      <p:bldP spid="54" grpId="0" animBg="1"/>
      <p:bldP spid="78" grpId="0" animBg="1"/>
      <p:bldP spid="78" grpId="1" animBg="1"/>
      <p:bldP spid="93" grpId="0" animBg="1"/>
      <p:bldP spid="97" grpId="0" animBg="1"/>
      <p:bldP spid="112" grpId="0" animBg="1"/>
      <p:bldP spid="11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48">
            <a:extLst>
              <a:ext uri="{FF2B5EF4-FFF2-40B4-BE49-F238E27FC236}">
                <a16:creationId xmlns:a16="http://schemas.microsoft.com/office/drawing/2014/main" id="{9FD821AA-9D4F-E206-2949-FE680EF18794}"/>
              </a:ext>
            </a:extLst>
          </p:cNvPr>
          <p:cNvPicPr>
            <a:picLocks noGrp="1" noRot="1" noMove="1" noResize="1" noEditPoints="1" noAdjustHandles="1" noChangeArrowheads="1" noChangeShapeType="1" noCrop="1"/>
          </p:cNvPicPr>
          <p:nvPr/>
        </p:nvPicPr>
        <p:blipFill rotWithShape="1">
          <a:blip r:embed="rId19" cstate="print">
            <a:extLst>
              <a:ext uri="{28A0092B-C50C-407E-A947-70E740481C1C}">
                <a14:useLocalDpi xmlns:a14="http://schemas.microsoft.com/office/drawing/2010/main"/>
              </a:ext>
            </a:extLst>
          </a:blip>
          <a:srcRect t="13047" r="13047"/>
          <a:stretch/>
        </p:blipFill>
        <p:spPr>
          <a:xfrm rot="10800000" flipH="1">
            <a:off x="-396" y="-272"/>
            <a:ext cx="11520884" cy="6480448"/>
          </a:xfrm>
          <a:prstGeom prst="rect">
            <a:avLst/>
          </a:prstGeom>
        </p:spPr>
      </p:pic>
      <p:sp>
        <p:nvSpPr>
          <p:cNvPr id="6" name="Titel 5">
            <a:extLst>
              <a:ext uri="{FF2B5EF4-FFF2-40B4-BE49-F238E27FC236}">
                <a16:creationId xmlns:a16="http://schemas.microsoft.com/office/drawing/2014/main" id="{8D69834B-7B7B-127E-E410-BE695B82B838}"/>
              </a:ext>
            </a:extLst>
          </p:cNvPr>
          <p:cNvSpPr>
            <a:spLocks noGrp="1"/>
          </p:cNvSpPr>
          <p:nvPr>
            <p:ph type="title"/>
          </p:nvPr>
        </p:nvSpPr>
        <p:spPr/>
        <p:txBody>
          <a:bodyPr/>
          <a:lstStyle/>
          <a:p>
            <a:r>
              <a:rPr lang="en-US" dirty="0">
                <a:solidFill>
                  <a:srgbClr val="52C9FF"/>
                </a:solidFill>
              </a:rPr>
              <a:t>Introduction of IAV</a:t>
            </a:r>
            <a:endParaRPr lang="de-DE" dirty="0">
              <a:solidFill>
                <a:srgbClr val="96E7FF"/>
              </a:solidFill>
            </a:endParaRPr>
          </a:p>
        </p:txBody>
      </p:sp>
      <p:sp>
        <p:nvSpPr>
          <p:cNvPr id="5" name="Foliennummernplatzhalter 4">
            <a:extLst>
              <a:ext uri="{FF2B5EF4-FFF2-40B4-BE49-F238E27FC236}">
                <a16:creationId xmlns:a16="http://schemas.microsoft.com/office/drawing/2014/main" id="{722B24BD-90C6-F90F-52D1-E371404B4484}"/>
              </a:ext>
            </a:extLst>
          </p:cNvPr>
          <p:cNvSpPr>
            <a:spLocks noGrp="1"/>
          </p:cNvSpPr>
          <p:nvPr>
            <p:ph type="sldNum" sz="quarter" idx="11"/>
          </p:nvPr>
        </p:nvSpPr>
        <p:spPr/>
        <p:txBody>
          <a:bodyPr/>
          <a:lstStyle/>
          <a:p>
            <a:fld id="{C651C7C4-31E4-E340-822E-DEA0EA75A835}" type="slidenum">
              <a:rPr lang="en-US" smtClean="0">
                <a:solidFill>
                  <a:srgbClr val="FFFFFF"/>
                </a:solidFill>
              </a:rPr>
              <a:pPr/>
              <a:t>2</a:t>
            </a:fld>
            <a:endParaRPr lang="en-US">
              <a:solidFill>
                <a:srgbClr val="FFFFFF"/>
              </a:solidFill>
            </a:endParaRPr>
          </a:p>
        </p:txBody>
      </p:sp>
      <p:pic>
        <p:nvPicPr>
          <p:cNvPr id="13" name="IAV_Logo">
            <a:extLst>
              <a:ext uri="{FF2B5EF4-FFF2-40B4-BE49-F238E27FC236}">
                <a16:creationId xmlns:a16="http://schemas.microsoft.com/office/drawing/2014/main" id="{07832FA4-E598-5B81-7A14-560DE4BF9512}"/>
              </a:ext>
            </a:extLst>
          </p:cNvPr>
          <p:cNvPicPr>
            <a:picLocks noRot="1" noChangeAspect="1" noMove="1" noResize="1"/>
          </p:cNvPicPr>
          <p:nvPr>
            <p:custDataLst>
              <p:tags r:id="rId1"/>
            </p:custDataLst>
          </p:nvPr>
        </p:nvPicPr>
        <p:blipFill>
          <a:blip r:embed="rId20" cstate="print">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10148245" y="5868379"/>
            <a:ext cx="976595" cy="539999"/>
          </a:xfrm>
          <a:prstGeom prst="rect">
            <a:avLst/>
          </a:prstGeom>
        </p:spPr>
      </p:pic>
      <p:sp>
        <p:nvSpPr>
          <p:cNvPr id="2" name="Textfeld 36">
            <a:extLst>
              <a:ext uri="{FF2B5EF4-FFF2-40B4-BE49-F238E27FC236}">
                <a16:creationId xmlns:a16="http://schemas.microsoft.com/office/drawing/2014/main" id="{2E19D08E-2534-9319-826E-FE628DFCB339}"/>
              </a:ext>
            </a:extLst>
          </p:cNvPr>
          <p:cNvSpPr txBox="1"/>
          <p:nvPr/>
        </p:nvSpPr>
        <p:spPr>
          <a:xfrm>
            <a:off x="8352532" y="4455340"/>
            <a:ext cx="1013557" cy="1200329"/>
          </a:xfrm>
          <a:prstGeom prst="rect">
            <a:avLst/>
          </a:prstGeom>
          <a:ln w="12700">
            <a:miter lim="400000"/>
          </a:ln>
          <a:extLst>
            <a:ext uri="{C572A759-6A51-4108-AA02-DFA0A04FC94B}">
              <ma14:wrappingTextBoxFlag xmlns:ma14="http://schemas.microsoft.com/office/mac/drawingml/2011/main" xmlns="" val="1"/>
            </a:ext>
          </a:extLst>
        </p:spPr>
        <p:txBody>
          <a:bodyPr wrap="square" lIns="72000" tIns="0" rIns="0" bIns="0">
            <a:spAutoFit/>
          </a:bodyPr>
          <a:lstStyle>
            <a:lvl1pPr defTabSz="1829683">
              <a:spcBef>
                <a:spcPts val="1600"/>
              </a:spcBef>
              <a:defRPr sz="20200" b="1">
                <a:solidFill>
                  <a:srgbClr val="5DAEDB"/>
                </a:solidFill>
                <a:latin typeface="Arial"/>
                <a:ea typeface="Arial"/>
                <a:cs typeface="Arial"/>
                <a:sym typeface="Arial"/>
              </a:defRPr>
            </a:lvl1pPr>
          </a:lstStyle>
          <a:p>
            <a:r>
              <a:rPr lang="en-GB" sz="5000">
                <a:solidFill>
                  <a:schemeClr val="accent1"/>
                </a:solidFill>
              </a:rPr>
              <a:t>26</a:t>
            </a:r>
            <a:br>
              <a:rPr lang="en-GB" sz="9000">
                <a:solidFill>
                  <a:schemeClr val="accent1"/>
                </a:solidFill>
              </a:rPr>
            </a:br>
            <a:r>
              <a:rPr lang="en-GB" sz="1400">
                <a:solidFill>
                  <a:srgbClr val="FFFFFF"/>
                </a:solidFill>
              </a:rPr>
              <a:t>Locations worldwide</a:t>
            </a:r>
          </a:p>
        </p:txBody>
      </p:sp>
      <p:sp>
        <p:nvSpPr>
          <p:cNvPr id="12" name="Textfeld 40">
            <a:extLst>
              <a:ext uri="{FF2B5EF4-FFF2-40B4-BE49-F238E27FC236}">
                <a16:creationId xmlns:a16="http://schemas.microsoft.com/office/drawing/2014/main" id="{BD9D4D78-D888-0304-6018-D4CB84C23B7D}"/>
              </a:ext>
            </a:extLst>
          </p:cNvPr>
          <p:cNvSpPr txBox="1"/>
          <p:nvPr/>
        </p:nvSpPr>
        <p:spPr>
          <a:xfrm>
            <a:off x="7019646" y="1302251"/>
            <a:ext cx="2092991" cy="984885"/>
          </a:xfrm>
          <a:prstGeom prst="rect">
            <a:avLst/>
          </a:prstGeom>
          <a:ln w="12700">
            <a:miter lim="400000"/>
          </a:ln>
          <a:extLst>
            <a:ext uri="{C572A759-6A51-4108-AA02-DFA0A04FC94B}">
              <ma14:wrappingTextBoxFlag xmlns:ma14="http://schemas.microsoft.com/office/mac/drawingml/2011/main" xmlns="" val="1"/>
            </a:ext>
          </a:extLst>
        </p:spPr>
        <p:txBody>
          <a:bodyPr wrap="square" lIns="72000" tIns="0" rIns="0" bIns="0" anchor="ctr">
            <a:spAutoFit/>
          </a:bodyPr>
          <a:lstStyle>
            <a:lvl1pPr defTabSz="1829683">
              <a:spcBef>
                <a:spcPts val="1600"/>
              </a:spcBef>
              <a:defRPr sz="20200" b="1">
                <a:solidFill>
                  <a:srgbClr val="5DAEDB"/>
                </a:solidFill>
                <a:latin typeface="Arial"/>
                <a:ea typeface="Arial"/>
                <a:cs typeface="Arial"/>
                <a:sym typeface="Arial"/>
              </a:defRPr>
            </a:lvl1pPr>
          </a:lstStyle>
          <a:p>
            <a:r>
              <a:rPr lang="en-GB" sz="5000" dirty="0">
                <a:solidFill>
                  <a:schemeClr val="accent1"/>
                </a:solidFill>
              </a:rPr>
              <a:t>6,600</a:t>
            </a:r>
            <a:br>
              <a:rPr lang="en-GB" sz="6000" dirty="0">
                <a:solidFill>
                  <a:schemeClr val="accent1"/>
                </a:solidFill>
              </a:rPr>
            </a:br>
            <a:r>
              <a:rPr lang="en-GB" sz="1400" dirty="0">
                <a:solidFill>
                  <a:srgbClr val="FFFFFF"/>
                </a:solidFill>
              </a:rPr>
              <a:t>Employees</a:t>
            </a:r>
          </a:p>
        </p:txBody>
      </p:sp>
      <p:sp>
        <p:nvSpPr>
          <p:cNvPr id="14" name="Textfeld 29">
            <a:extLst>
              <a:ext uri="{FF2B5EF4-FFF2-40B4-BE49-F238E27FC236}">
                <a16:creationId xmlns:a16="http://schemas.microsoft.com/office/drawing/2014/main" id="{48C7F8C8-1C52-FE74-49EF-1368566241C7}"/>
              </a:ext>
            </a:extLst>
          </p:cNvPr>
          <p:cNvSpPr txBox="1"/>
          <p:nvPr/>
        </p:nvSpPr>
        <p:spPr>
          <a:xfrm>
            <a:off x="1700280" y="1295871"/>
            <a:ext cx="1939502" cy="1200329"/>
          </a:xfrm>
          <a:prstGeom prst="rect">
            <a:avLst/>
          </a:prstGeom>
          <a:ln w="12700">
            <a:miter lim="400000"/>
          </a:ln>
          <a:extLst>
            <a:ext uri="{C572A759-6A51-4108-AA02-DFA0A04FC94B}">
              <ma14:wrappingTextBoxFlag xmlns:ma14="http://schemas.microsoft.com/office/mac/drawingml/2011/main" xmlns="" val="1"/>
            </a:ext>
          </a:extLst>
        </p:spPr>
        <p:txBody>
          <a:bodyPr wrap="square" lIns="72000" tIns="0" rIns="0" bIns="0">
            <a:spAutoFit/>
          </a:bodyPr>
          <a:lstStyle>
            <a:lvl1pPr defTabSz="1829683">
              <a:spcBef>
                <a:spcPts val="1600"/>
              </a:spcBef>
              <a:defRPr sz="12600" b="1" spc="-420">
                <a:solidFill>
                  <a:srgbClr val="5DAEDB"/>
                </a:solidFill>
                <a:latin typeface="Arial"/>
                <a:ea typeface="Arial"/>
                <a:cs typeface="Arial"/>
                <a:sym typeface="Arial"/>
              </a:defRPr>
            </a:lvl1pPr>
          </a:lstStyle>
          <a:p>
            <a:r>
              <a:rPr lang="en-GB" sz="1400" spc="0" dirty="0">
                <a:solidFill>
                  <a:schemeClr val="bg1"/>
                </a:solidFill>
              </a:rPr>
              <a:t>Founded</a:t>
            </a:r>
            <a:br>
              <a:rPr lang="en-GB" sz="6000" spc="0" dirty="0">
                <a:solidFill>
                  <a:schemeClr val="accent1"/>
                </a:solidFill>
              </a:rPr>
            </a:br>
            <a:r>
              <a:rPr lang="en-GB" sz="5000" spc="0" dirty="0">
                <a:solidFill>
                  <a:schemeClr val="accent1"/>
                </a:solidFill>
              </a:rPr>
              <a:t>1983</a:t>
            </a:r>
            <a:br>
              <a:rPr lang="en-GB" sz="6000" spc="0" dirty="0">
                <a:solidFill>
                  <a:schemeClr val="accent1"/>
                </a:solidFill>
              </a:rPr>
            </a:br>
            <a:r>
              <a:rPr lang="en-GB" sz="1400" b="0" spc="0" dirty="0">
                <a:solidFill>
                  <a:srgbClr val="52C9FF"/>
                </a:solidFill>
              </a:rPr>
              <a:t>Berlin</a:t>
            </a:r>
          </a:p>
        </p:txBody>
      </p:sp>
      <p:grpSp>
        <p:nvGrpSpPr>
          <p:cNvPr id="15" name="easyIcon">
            <a:extLst>
              <a:ext uri="{FF2B5EF4-FFF2-40B4-BE49-F238E27FC236}">
                <a16:creationId xmlns:a16="http://schemas.microsoft.com/office/drawing/2014/main" id="{DA3A7A5D-4B72-D0BE-EADC-879CE36C2F8D}"/>
              </a:ext>
            </a:extLst>
          </p:cNvPr>
          <p:cNvGrpSpPr>
            <a:grpSpLocks noChangeAspect="1"/>
          </p:cNvGrpSpPr>
          <p:nvPr>
            <p:custDataLst>
              <p:tags r:id="rId2"/>
            </p:custDataLst>
          </p:nvPr>
        </p:nvGrpSpPr>
        <p:grpSpPr>
          <a:xfrm>
            <a:off x="7997255" y="3360743"/>
            <a:ext cx="720000" cy="720000"/>
            <a:chOff x="575668" y="1151855"/>
            <a:chExt cx="720000" cy="720000"/>
          </a:xfrm>
        </p:grpSpPr>
        <p:sp>
          <p:nvSpPr>
            <p:cNvPr id="16" name="backgroundFixed">
              <a:extLst>
                <a:ext uri="{FF2B5EF4-FFF2-40B4-BE49-F238E27FC236}">
                  <a16:creationId xmlns:a16="http://schemas.microsoft.com/office/drawing/2014/main" id="{871F127D-D2A5-DDDC-951D-ADEB7D2989CF}"/>
                </a:ext>
              </a:extLst>
            </p:cNvPr>
            <p:cNvSpPr/>
            <p:nvPr>
              <p:custDataLst>
                <p:tags r:id="rId16"/>
              </p:custDataLst>
            </p:nvPr>
          </p:nvSpPr>
          <p:spPr>
            <a:xfrm>
              <a:off x="575668" y="1151855"/>
              <a:ext cx="720000" cy="720000"/>
            </a:xfrm>
            <a:prstGeom prst="rect">
              <a:avLst/>
            </a:prstGeom>
            <a:solidFill>
              <a:srgbClr val="5500B4"/>
            </a:solidFill>
            <a:ln w="6350" cap="flat" cmpd="sng" algn="ctr">
              <a:solidFill>
                <a:srgbClr val="5500B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a:solidFill>
                  <a:schemeClr val="bg1"/>
                </a:solidFill>
              </a:endParaRPr>
            </a:p>
          </p:txBody>
        </p:sp>
        <p:pic>
          <p:nvPicPr>
            <p:cNvPr id="17" name="Vector">
              <a:extLst>
                <a:ext uri="{FF2B5EF4-FFF2-40B4-BE49-F238E27FC236}">
                  <a16:creationId xmlns:a16="http://schemas.microsoft.com/office/drawing/2014/main" id="{F2D7D2A4-A68F-48F7-8156-60F9F65EE801}"/>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bwMode="gray">
            <a:xfrm>
              <a:off x="575668" y="1151855"/>
              <a:ext cx="720000" cy="720000"/>
            </a:xfrm>
            <a:prstGeom prst="rect">
              <a:avLst/>
            </a:prstGeom>
          </p:spPr>
        </p:pic>
      </p:grpSp>
      <p:grpSp>
        <p:nvGrpSpPr>
          <p:cNvPr id="18" name="easyIcon">
            <a:extLst>
              <a:ext uri="{FF2B5EF4-FFF2-40B4-BE49-F238E27FC236}">
                <a16:creationId xmlns:a16="http://schemas.microsoft.com/office/drawing/2014/main" id="{FC519586-432A-8E11-9624-E3F2144EF349}"/>
              </a:ext>
            </a:extLst>
          </p:cNvPr>
          <p:cNvGrpSpPr>
            <a:grpSpLocks noChangeAspect="1"/>
          </p:cNvGrpSpPr>
          <p:nvPr>
            <p:custDataLst>
              <p:tags r:id="rId3"/>
            </p:custDataLst>
          </p:nvPr>
        </p:nvGrpSpPr>
        <p:grpSpPr>
          <a:xfrm>
            <a:off x="1306253" y="3361897"/>
            <a:ext cx="720000" cy="720000"/>
            <a:chOff x="10224820" y="2158867"/>
            <a:chExt cx="721100" cy="721100"/>
          </a:xfrm>
        </p:grpSpPr>
        <p:sp>
          <p:nvSpPr>
            <p:cNvPr id="19" name="backgroundFixed">
              <a:extLst>
                <a:ext uri="{FF2B5EF4-FFF2-40B4-BE49-F238E27FC236}">
                  <a16:creationId xmlns:a16="http://schemas.microsoft.com/office/drawing/2014/main" id="{511D3E72-7B00-D83B-5495-FF7928D2F8DE}"/>
                </a:ext>
              </a:extLst>
            </p:cNvPr>
            <p:cNvSpPr/>
            <p:nvPr>
              <p:custDataLst>
                <p:tags r:id="rId15"/>
              </p:custDataLst>
            </p:nvPr>
          </p:nvSpPr>
          <p:spPr>
            <a:xfrm>
              <a:off x="10224820" y="2158867"/>
              <a:ext cx="721100" cy="721100"/>
            </a:xfrm>
            <a:prstGeom prst="rect">
              <a:avLst/>
            </a:prstGeom>
            <a:solidFill>
              <a:srgbClr val="5500B4"/>
            </a:solidFill>
            <a:ln w="6350" cap="flat" cmpd="sng" algn="ctr">
              <a:solidFill>
                <a:srgbClr val="5500B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a:solidFill>
                  <a:schemeClr val="bg1"/>
                </a:solidFill>
              </a:endParaRPr>
            </a:p>
          </p:txBody>
        </p:sp>
        <p:pic>
          <p:nvPicPr>
            <p:cNvPr id="20" name="Vector">
              <a:extLst>
                <a:ext uri="{FF2B5EF4-FFF2-40B4-BE49-F238E27FC236}">
                  <a16:creationId xmlns:a16="http://schemas.microsoft.com/office/drawing/2014/main" id="{4F70B156-B6EF-7307-FC59-1DD2B4158197}"/>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bwMode="gray">
            <a:xfrm>
              <a:off x="10224820" y="2158867"/>
              <a:ext cx="721100" cy="721100"/>
            </a:xfrm>
            <a:prstGeom prst="rect">
              <a:avLst/>
            </a:prstGeom>
          </p:spPr>
        </p:pic>
      </p:grpSp>
      <p:grpSp>
        <p:nvGrpSpPr>
          <p:cNvPr id="24" name="easyIcon">
            <a:extLst>
              <a:ext uri="{FF2B5EF4-FFF2-40B4-BE49-F238E27FC236}">
                <a16:creationId xmlns:a16="http://schemas.microsoft.com/office/drawing/2014/main" id="{7C92BCAF-4C1D-54B7-2551-089F03C4FA40}"/>
              </a:ext>
            </a:extLst>
          </p:cNvPr>
          <p:cNvGrpSpPr>
            <a:grpSpLocks noChangeAspect="1"/>
          </p:cNvGrpSpPr>
          <p:nvPr>
            <p:custDataLst>
              <p:tags r:id="rId4"/>
            </p:custDataLst>
          </p:nvPr>
        </p:nvGrpSpPr>
        <p:grpSpPr>
          <a:xfrm>
            <a:off x="6665107" y="3366740"/>
            <a:ext cx="720000" cy="720000"/>
            <a:chOff x="9079430" y="3240449"/>
            <a:chExt cx="720001" cy="720000"/>
          </a:xfrm>
        </p:grpSpPr>
        <p:sp>
          <p:nvSpPr>
            <p:cNvPr id="25" name="backgroundFixed">
              <a:extLst>
                <a:ext uri="{FF2B5EF4-FFF2-40B4-BE49-F238E27FC236}">
                  <a16:creationId xmlns:a16="http://schemas.microsoft.com/office/drawing/2014/main" id="{E333BCD4-074F-5EA7-7293-687C09BC96E8}"/>
                </a:ext>
              </a:extLst>
            </p:cNvPr>
            <p:cNvSpPr/>
            <p:nvPr>
              <p:custDataLst>
                <p:tags r:id="rId14"/>
              </p:custDataLst>
            </p:nvPr>
          </p:nvSpPr>
          <p:spPr>
            <a:xfrm>
              <a:off x="9079430" y="3240449"/>
              <a:ext cx="720001" cy="720000"/>
            </a:xfrm>
            <a:prstGeom prst="rect">
              <a:avLst/>
            </a:prstGeom>
            <a:solidFill>
              <a:srgbClr val="5500B4"/>
            </a:solidFill>
            <a:ln w="6350" cap="flat" cmpd="sng" algn="ctr">
              <a:solidFill>
                <a:srgbClr val="5500B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a:solidFill>
                  <a:schemeClr val="bg1"/>
                </a:solidFill>
              </a:endParaRPr>
            </a:p>
          </p:txBody>
        </p:sp>
        <p:pic>
          <p:nvPicPr>
            <p:cNvPr id="26" name="Vector">
              <a:extLst>
                <a:ext uri="{FF2B5EF4-FFF2-40B4-BE49-F238E27FC236}">
                  <a16:creationId xmlns:a16="http://schemas.microsoft.com/office/drawing/2014/main" id="{7DCF527D-306A-A04F-6578-855018835952}"/>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bwMode="gray">
            <a:xfrm>
              <a:off x="9079430" y="3240449"/>
              <a:ext cx="720000" cy="720000"/>
            </a:xfrm>
            <a:prstGeom prst="rect">
              <a:avLst/>
            </a:prstGeom>
          </p:spPr>
        </p:pic>
      </p:grpSp>
      <p:sp>
        <p:nvSpPr>
          <p:cNvPr id="28" name="backgroundFixed">
            <a:extLst>
              <a:ext uri="{FF2B5EF4-FFF2-40B4-BE49-F238E27FC236}">
                <a16:creationId xmlns:a16="http://schemas.microsoft.com/office/drawing/2014/main" id="{9FB36B85-D0B4-AFDB-0CEB-D23863C4BDF4}"/>
              </a:ext>
            </a:extLst>
          </p:cNvPr>
          <p:cNvSpPr/>
          <p:nvPr>
            <p:custDataLst>
              <p:tags r:id="rId5"/>
            </p:custDataLst>
          </p:nvPr>
        </p:nvSpPr>
        <p:spPr>
          <a:xfrm>
            <a:off x="2632659" y="3348099"/>
            <a:ext cx="720000" cy="720000"/>
          </a:xfrm>
          <a:prstGeom prst="rect">
            <a:avLst/>
          </a:prstGeom>
          <a:solidFill>
            <a:srgbClr val="5500B4"/>
          </a:solidFill>
          <a:ln w="6350" cap="flat" cmpd="sng" algn="ctr">
            <a:solidFill>
              <a:srgbClr val="5500B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sp>
        <p:nvSpPr>
          <p:cNvPr id="31" name="backgroundFixed">
            <a:extLst>
              <a:ext uri="{FF2B5EF4-FFF2-40B4-BE49-F238E27FC236}">
                <a16:creationId xmlns:a16="http://schemas.microsoft.com/office/drawing/2014/main" id="{0D705486-3AA6-3B2A-466F-1AC62F64FE70}"/>
              </a:ext>
            </a:extLst>
          </p:cNvPr>
          <p:cNvSpPr/>
          <p:nvPr>
            <p:custDataLst>
              <p:tags r:id="rId6"/>
            </p:custDataLst>
          </p:nvPr>
        </p:nvSpPr>
        <p:spPr>
          <a:xfrm>
            <a:off x="3964807" y="3362747"/>
            <a:ext cx="720000" cy="720000"/>
          </a:xfrm>
          <a:prstGeom prst="rect">
            <a:avLst/>
          </a:prstGeom>
          <a:solidFill>
            <a:srgbClr val="5500B4"/>
          </a:solidFill>
          <a:ln w="6350" cap="flat" cmpd="sng" algn="ctr">
            <a:solidFill>
              <a:srgbClr val="5500B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a:solidFill>
                <a:schemeClr val="bg1"/>
              </a:solidFill>
            </a:endParaRPr>
          </a:p>
        </p:txBody>
      </p:sp>
      <p:cxnSp>
        <p:nvCxnSpPr>
          <p:cNvPr id="33" name="Gerader Verbinder 11">
            <a:extLst>
              <a:ext uri="{FF2B5EF4-FFF2-40B4-BE49-F238E27FC236}">
                <a16:creationId xmlns:a16="http://schemas.microsoft.com/office/drawing/2014/main" id="{6411BBA3-7C37-9BE2-E654-E8EA4BFC36C9}"/>
              </a:ext>
            </a:extLst>
          </p:cNvPr>
          <p:cNvCxnSpPr>
            <a:cxnSpLocks/>
          </p:cNvCxnSpPr>
          <p:nvPr/>
        </p:nvCxnSpPr>
        <p:spPr>
          <a:xfrm>
            <a:off x="1679616" y="1295400"/>
            <a:ext cx="0" cy="1944687"/>
          </a:xfrm>
          <a:prstGeom prst="line">
            <a:avLst/>
          </a:prstGeom>
          <a:ln>
            <a:solidFill>
              <a:srgbClr val="52C9FF"/>
            </a:solidFill>
          </a:ln>
        </p:spPr>
        <p:style>
          <a:lnRef idx="1">
            <a:schemeClr val="accent1"/>
          </a:lnRef>
          <a:fillRef idx="0">
            <a:schemeClr val="accent1"/>
          </a:fillRef>
          <a:effectRef idx="0">
            <a:schemeClr val="accent1"/>
          </a:effectRef>
          <a:fontRef idx="minor">
            <a:schemeClr val="tx1"/>
          </a:fontRef>
        </p:style>
      </p:cxnSp>
      <p:sp>
        <p:nvSpPr>
          <p:cNvPr id="34" name="Textfeld 29">
            <a:extLst>
              <a:ext uri="{FF2B5EF4-FFF2-40B4-BE49-F238E27FC236}">
                <a16:creationId xmlns:a16="http://schemas.microsoft.com/office/drawing/2014/main" id="{9E92D19F-B8EE-26A2-5661-B629BAEE8A56}"/>
              </a:ext>
            </a:extLst>
          </p:cNvPr>
          <p:cNvSpPr txBox="1"/>
          <p:nvPr/>
        </p:nvSpPr>
        <p:spPr>
          <a:xfrm>
            <a:off x="4369393" y="1395703"/>
            <a:ext cx="2470970" cy="1074077"/>
          </a:xfrm>
          <a:prstGeom prst="rect">
            <a:avLst/>
          </a:prstGeom>
          <a:ln w="12700">
            <a:miter lim="400000"/>
          </a:ln>
          <a:extLst>
            <a:ext uri="{C572A759-6A51-4108-AA02-DFA0A04FC94B}">
              <ma14:wrappingTextBoxFlag xmlns:ma14="http://schemas.microsoft.com/office/mac/drawingml/2011/main" xmlns="" val="1"/>
            </a:ext>
          </a:extLst>
        </p:spPr>
        <p:txBody>
          <a:bodyPr wrap="square" lIns="72000" tIns="0" rIns="0" bIns="0">
            <a:spAutoFit/>
          </a:bodyPr>
          <a:lstStyle>
            <a:lvl1pPr defTabSz="1829683">
              <a:spcBef>
                <a:spcPts val="1600"/>
              </a:spcBef>
              <a:defRPr sz="12600" b="1" spc="-420">
                <a:solidFill>
                  <a:srgbClr val="5DAEDB"/>
                </a:solidFill>
                <a:latin typeface="Arial"/>
                <a:ea typeface="Arial"/>
                <a:cs typeface="Arial"/>
                <a:sym typeface="Arial"/>
              </a:defRPr>
            </a:lvl1pPr>
          </a:lstStyle>
          <a:p>
            <a:pPr>
              <a:lnSpc>
                <a:spcPct val="120000"/>
              </a:lnSpc>
            </a:pPr>
            <a:r>
              <a:rPr lang="en-GB" sz="2000" spc="0" dirty="0">
                <a:solidFill>
                  <a:srgbClr val="FFFFFF"/>
                </a:solidFill>
              </a:rPr>
              <a:t>Vehicle Solutions &amp; Autonomous Driving </a:t>
            </a:r>
          </a:p>
        </p:txBody>
      </p:sp>
      <p:sp>
        <p:nvSpPr>
          <p:cNvPr id="35" name="Textfeld 29">
            <a:extLst>
              <a:ext uri="{FF2B5EF4-FFF2-40B4-BE49-F238E27FC236}">
                <a16:creationId xmlns:a16="http://schemas.microsoft.com/office/drawing/2014/main" id="{0275BC4F-484E-B945-A8CF-5225AC1D6787}"/>
              </a:ext>
            </a:extLst>
          </p:cNvPr>
          <p:cNvSpPr txBox="1"/>
          <p:nvPr/>
        </p:nvSpPr>
        <p:spPr>
          <a:xfrm>
            <a:off x="3028343" y="4398441"/>
            <a:ext cx="1679974" cy="1074077"/>
          </a:xfrm>
          <a:prstGeom prst="rect">
            <a:avLst/>
          </a:prstGeom>
          <a:ln w="12700">
            <a:miter lim="400000"/>
          </a:ln>
          <a:extLst>
            <a:ext uri="{C572A759-6A51-4108-AA02-DFA0A04FC94B}">
              <ma14:wrappingTextBoxFlag xmlns:ma14="http://schemas.microsoft.com/office/mac/drawingml/2011/main" xmlns="" val="1"/>
            </a:ext>
          </a:extLst>
        </p:spPr>
        <p:txBody>
          <a:bodyPr wrap="square" lIns="72000" tIns="0" rIns="0" bIns="0">
            <a:spAutoFit/>
          </a:bodyPr>
          <a:lstStyle>
            <a:lvl1pPr defTabSz="1829683">
              <a:spcBef>
                <a:spcPts val="1600"/>
              </a:spcBef>
              <a:defRPr sz="12600" b="1" spc="-420">
                <a:solidFill>
                  <a:srgbClr val="5DAEDB"/>
                </a:solidFill>
                <a:latin typeface="Arial"/>
                <a:ea typeface="Arial"/>
                <a:cs typeface="Arial"/>
                <a:sym typeface="Arial"/>
              </a:defRPr>
            </a:lvl1pPr>
          </a:lstStyle>
          <a:p>
            <a:pPr>
              <a:lnSpc>
                <a:spcPct val="120000"/>
              </a:lnSpc>
            </a:pPr>
            <a:r>
              <a:rPr lang="en-GB" sz="2000" spc="0" dirty="0">
                <a:solidFill>
                  <a:srgbClr val="FFFFFF"/>
                </a:solidFill>
              </a:rPr>
              <a:t>Software Systems &amp; Connectivity</a:t>
            </a:r>
          </a:p>
        </p:txBody>
      </p:sp>
      <p:cxnSp>
        <p:nvCxnSpPr>
          <p:cNvPr id="36" name="Gerader Verbinder 16">
            <a:extLst>
              <a:ext uri="{FF2B5EF4-FFF2-40B4-BE49-F238E27FC236}">
                <a16:creationId xmlns:a16="http://schemas.microsoft.com/office/drawing/2014/main" id="{0323B0AE-8F25-0ACE-D192-4A3E9E3D8C60}"/>
              </a:ext>
            </a:extLst>
          </p:cNvPr>
          <p:cNvCxnSpPr/>
          <p:nvPr/>
        </p:nvCxnSpPr>
        <p:spPr>
          <a:xfrm>
            <a:off x="3028344" y="4171485"/>
            <a:ext cx="0" cy="1458664"/>
          </a:xfrm>
          <a:prstGeom prst="line">
            <a:avLst/>
          </a:prstGeom>
          <a:ln>
            <a:solidFill>
              <a:srgbClr val="52C9FF"/>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5E0FE72-74A0-9E9A-3665-E85222C24BBC}"/>
              </a:ext>
            </a:extLst>
          </p:cNvPr>
          <p:cNvCxnSpPr>
            <a:cxnSpLocks/>
          </p:cNvCxnSpPr>
          <p:nvPr/>
        </p:nvCxnSpPr>
        <p:spPr>
          <a:xfrm>
            <a:off x="8339284" y="4153985"/>
            <a:ext cx="0" cy="1458664"/>
          </a:xfrm>
          <a:prstGeom prst="line">
            <a:avLst/>
          </a:prstGeom>
          <a:ln>
            <a:solidFill>
              <a:srgbClr val="52C9FF"/>
            </a:solidFill>
          </a:ln>
        </p:spPr>
        <p:style>
          <a:lnRef idx="1">
            <a:schemeClr val="accent1"/>
          </a:lnRef>
          <a:fillRef idx="0">
            <a:schemeClr val="accent1"/>
          </a:fillRef>
          <a:effectRef idx="0">
            <a:schemeClr val="accent1"/>
          </a:effectRef>
          <a:fontRef idx="minor">
            <a:schemeClr val="tx1"/>
          </a:fontRef>
        </p:style>
      </p:cxnSp>
      <p:cxnSp>
        <p:nvCxnSpPr>
          <p:cNvPr id="38" name="Gerader Verbinder 5">
            <a:extLst>
              <a:ext uri="{FF2B5EF4-FFF2-40B4-BE49-F238E27FC236}">
                <a16:creationId xmlns:a16="http://schemas.microsoft.com/office/drawing/2014/main" id="{478A709C-153E-112D-4C25-D9184B1B5DD8}"/>
              </a:ext>
            </a:extLst>
          </p:cNvPr>
          <p:cNvCxnSpPr/>
          <p:nvPr/>
        </p:nvCxnSpPr>
        <p:spPr>
          <a:xfrm>
            <a:off x="5653799" y="4171485"/>
            <a:ext cx="0" cy="1458664"/>
          </a:xfrm>
          <a:prstGeom prst="line">
            <a:avLst/>
          </a:prstGeom>
          <a:ln>
            <a:solidFill>
              <a:srgbClr val="52C9FF"/>
            </a:solidFill>
          </a:ln>
        </p:spPr>
        <p:style>
          <a:lnRef idx="1">
            <a:schemeClr val="accent1"/>
          </a:lnRef>
          <a:fillRef idx="0">
            <a:schemeClr val="accent1"/>
          </a:fillRef>
          <a:effectRef idx="0">
            <a:schemeClr val="accent1"/>
          </a:effectRef>
          <a:fontRef idx="minor">
            <a:schemeClr val="tx1"/>
          </a:fontRef>
        </p:style>
      </p:cxnSp>
      <p:cxnSp>
        <p:nvCxnSpPr>
          <p:cNvPr id="39" name="Gerader Verbinder 6">
            <a:extLst>
              <a:ext uri="{FF2B5EF4-FFF2-40B4-BE49-F238E27FC236}">
                <a16:creationId xmlns:a16="http://schemas.microsoft.com/office/drawing/2014/main" id="{FBE1D67E-4DCD-9C90-C59A-0FD48E81CD21}"/>
              </a:ext>
            </a:extLst>
          </p:cNvPr>
          <p:cNvCxnSpPr>
            <a:cxnSpLocks/>
          </p:cNvCxnSpPr>
          <p:nvPr/>
        </p:nvCxnSpPr>
        <p:spPr>
          <a:xfrm>
            <a:off x="7019646" y="1295400"/>
            <a:ext cx="0" cy="1944687"/>
          </a:xfrm>
          <a:prstGeom prst="line">
            <a:avLst/>
          </a:prstGeom>
          <a:ln>
            <a:solidFill>
              <a:srgbClr val="52C9FF"/>
            </a:solidFill>
          </a:ln>
        </p:spPr>
        <p:style>
          <a:lnRef idx="1">
            <a:schemeClr val="accent1"/>
          </a:lnRef>
          <a:fillRef idx="0">
            <a:schemeClr val="accent1"/>
          </a:fillRef>
          <a:effectRef idx="0">
            <a:schemeClr val="accent1"/>
          </a:effectRef>
          <a:fontRef idx="minor">
            <a:schemeClr val="tx1"/>
          </a:fontRef>
        </p:style>
      </p:cxnSp>
      <p:cxnSp>
        <p:nvCxnSpPr>
          <p:cNvPr id="42" name="Gerader Verbinder 6">
            <a:extLst>
              <a:ext uri="{FF2B5EF4-FFF2-40B4-BE49-F238E27FC236}">
                <a16:creationId xmlns:a16="http://schemas.microsoft.com/office/drawing/2014/main" id="{F7472BEC-4E60-2890-6F38-35738E151C62}"/>
              </a:ext>
            </a:extLst>
          </p:cNvPr>
          <p:cNvCxnSpPr>
            <a:cxnSpLocks/>
          </p:cNvCxnSpPr>
          <p:nvPr/>
        </p:nvCxnSpPr>
        <p:spPr>
          <a:xfrm>
            <a:off x="4343346" y="1295400"/>
            <a:ext cx="0" cy="1944687"/>
          </a:xfrm>
          <a:prstGeom prst="line">
            <a:avLst/>
          </a:prstGeom>
          <a:ln>
            <a:solidFill>
              <a:srgbClr val="52C9FF"/>
            </a:solidFill>
          </a:ln>
        </p:spPr>
        <p:style>
          <a:lnRef idx="1">
            <a:schemeClr val="accent1"/>
          </a:lnRef>
          <a:fillRef idx="0">
            <a:schemeClr val="accent1"/>
          </a:fillRef>
          <a:effectRef idx="0">
            <a:schemeClr val="accent1"/>
          </a:effectRef>
          <a:fontRef idx="minor">
            <a:schemeClr val="tx1"/>
          </a:fontRef>
        </p:style>
      </p:cxnSp>
      <p:grpSp>
        <p:nvGrpSpPr>
          <p:cNvPr id="60" name="easyIcon">
            <a:extLst>
              <a:ext uri="{FF2B5EF4-FFF2-40B4-BE49-F238E27FC236}">
                <a16:creationId xmlns:a16="http://schemas.microsoft.com/office/drawing/2014/main" id="{86EC63FD-0729-0A91-0569-658186DDA9E6}"/>
              </a:ext>
            </a:extLst>
          </p:cNvPr>
          <p:cNvGrpSpPr>
            <a:grpSpLocks noChangeAspect="1"/>
          </p:cNvGrpSpPr>
          <p:nvPr>
            <p:custDataLst>
              <p:tags r:id="rId7"/>
            </p:custDataLst>
          </p:nvPr>
        </p:nvGrpSpPr>
        <p:grpSpPr>
          <a:xfrm>
            <a:off x="2546481" y="3293385"/>
            <a:ext cx="919747" cy="919747"/>
            <a:chOff x="5925840" y="3240449"/>
            <a:chExt cx="720000" cy="720000"/>
          </a:xfrm>
        </p:grpSpPr>
        <p:sp>
          <p:nvSpPr>
            <p:cNvPr id="61" name="backgroundFixed">
              <a:extLst>
                <a:ext uri="{FF2B5EF4-FFF2-40B4-BE49-F238E27FC236}">
                  <a16:creationId xmlns:a16="http://schemas.microsoft.com/office/drawing/2014/main" id="{D220D119-DEBC-F39A-90B3-422B6A6980A9}"/>
                </a:ext>
              </a:extLst>
            </p:cNvPr>
            <p:cNvSpPr/>
            <p:nvPr>
              <p:custDataLst>
                <p:tags r:id="rId13"/>
              </p:custDataLst>
            </p:nvPr>
          </p:nvSpPr>
          <p:spPr>
            <a:xfrm>
              <a:off x="5925840" y="3240449"/>
              <a:ext cx="720000" cy="72000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a:solidFill>
                  <a:schemeClr val="bg1"/>
                </a:solidFill>
              </a:endParaRPr>
            </a:p>
          </p:txBody>
        </p:sp>
        <p:pic>
          <p:nvPicPr>
            <p:cNvPr id="62" name="Vector">
              <a:extLst>
                <a:ext uri="{FF2B5EF4-FFF2-40B4-BE49-F238E27FC236}">
                  <a16:creationId xmlns:a16="http://schemas.microsoft.com/office/drawing/2014/main" id="{48458DAE-7531-3015-83E3-CD6849635D53}"/>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bwMode="gray">
            <a:xfrm>
              <a:off x="5925840" y="3240449"/>
              <a:ext cx="720000" cy="720000"/>
            </a:xfrm>
            <a:prstGeom prst="rect">
              <a:avLst/>
            </a:prstGeom>
          </p:spPr>
        </p:pic>
      </p:grpSp>
      <p:grpSp>
        <p:nvGrpSpPr>
          <p:cNvPr id="63" name="easyIcon">
            <a:extLst>
              <a:ext uri="{FF2B5EF4-FFF2-40B4-BE49-F238E27FC236}">
                <a16:creationId xmlns:a16="http://schemas.microsoft.com/office/drawing/2014/main" id="{260F8D15-776A-541B-D31C-748368D288C3}"/>
              </a:ext>
            </a:extLst>
          </p:cNvPr>
          <p:cNvGrpSpPr>
            <a:grpSpLocks noChangeAspect="1"/>
          </p:cNvGrpSpPr>
          <p:nvPr>
            <p:custDataLst>
              <p:tags r:id="rId8"/>
            </p:custDataLst>
          </p:nvPr>
        </p:nvGrpSpPr>
        <p:grpSpPr>
          <a:xfrm>
            <a:off x="4002274" y="3380917"/>
            <a:ext cx="677850" cy="677850"/>
            <a:chOff x="3791869" y="2158867"/>
            <a:chExt cx="721100" cy="721100"/>
          </a:xfrm>
        </p:grpSpPr>
        <p:sp>
          <p:nvSpPr>
            <p:cNvPr id="64" name="backgroundFixed">
              <a:extLst>
                <a:ext uri="{FF2B5EF4-FFF2-40B4-BE49-F238E27FC236}">
                  <a16:creationId xmlns:a16="http://schemas.microsoft.com/office/drawing/2014/main" id="{DC758263-399B-0F43-F265-DC55846C2B93}"/>
                </a:ext>
              </a:extLst>
            </p:cNvPr>
            <p:cNvSpPr/>
            <p:nvPr>
              <p:custDataLst>
                <p:tags r:id="rId12"/>
              </p:custDataLst>
            </p:nvPr>
          </p:nvSpPr>
          <p:spPr>
            <a:xfrm>
              <a:off x="3791869" y="2158867"/>
              <a:ext cx="721100" cy="72110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a:solidFill>
                  <a:schemeClr val="bg1"/>
                </a:solidFill>
              </a:endParaRPr>
            </a:p>
          </p:txBody>
        </p:sp>
        <p:pic>
          <p:nvPicPr>
            <p:cNvPr id="65" name="Vector">
              <a:extLst>
                <a:ext uri="{FF2B5EF4-FFF2-40B4-BE49-F238E27FC236}">
                  <a16:creationId xmlns:a16="http://schemas.microsoft.com/office/drawing/2014/main" id="{B821C6A4-0704-B82C-1B43-53358D7475EE}"/>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bwMode="gray">
            <a:xfrm>
              <a:off x="3791869" y="2158867"/>
              <a:ext cx="721100" cy="721100"/>
            </a:xfrm>
            <a:prstGeom prst="rect">
              <a:avLst/>
            </a:prstGeom>
          </p:spPr>
        </p:pic>
      </p:grpSp>
      <p:sp>
        <p:nvSpPr>
          <p:cNvPr id="66" name="Textfeld 29">
            <a:extLst>
              <a:ext uri="{FF2B5EF4-FFF2-40B4-BE49-F238E27FC236}">
                <a16:creationId xmlns:a16="http://schemas.microsoft.com/office/drawing/2014/main" id="{3B7C272C-1A54-1548-9017-9098AFFF6080}"/>
              </a:ext>
            </a:extLst>
          </p:cNvPr>
          <p:cNvSpPr txBox="1"/>
          <p:nvPr/>
        </p:nvSpPr>
        <p:spPr>
          <a:xfrm>
            <a:off x="5761038" y="4398441"/>
            <a:ext cx="1679974" cy="704745"/>
          </a:xfrm>
          <a:prstGeom prst="rect">
            <a:avLst/>
          </a:prstGeom>
          <a:ln w="12700">
            <a:miter lim="400000"/>
          </a:ln>
          <a:extLst>
            <a:ext uri="{C572A759-6A51-4108-AA02-DFA0A04FC94B}">
              <ma14:wrappingTextBoxFlag xmlns:ma14="http://schemas.microsoft.com/office/mac/drawingml/2011/main" xmlns="" val="1"/>
            </a:ext>
          </a:extLst>
        </p:spPr>
        <p:txBody>
          <a:bodyPr wrap="square" lIns="72000" tIns="0" rIns="0" bIns="0">
            <a:spAutoFit/>
          </a:bodyPr>
          <a:lstStyle>
            <a:lvl1pPr defTabSz="1829683">
              <a:spcBef>
                <a:spcPts val="1600"/>
              </a:spcBef>
              <a:defRPr sz="12600" b="1" spc="-420">
                <a:solidFill>
                  <a:srgbClr val="5DAEDB"/>
                </a:solidFill>
                <a:latin typeface="Arial"/>
                <a:ea typeface="Arial"/>
                <a:cs typeface="Arial"/>
                <a:sym typeface="Arial"/>
              </a:defRPr>
            </a:lvl1pPr>
          </a:lstStyle>
          <a:p>
            <a:pPr>
              <a:lnSpc>
                <a:spcPct val="120000"/>
              </a:lnSpc>
            </a:pPr>
            <a:r>
              <a:rPr lang="en-GB" sz="2000" spc="0" dirty="0">
                <a:solidFill>
                  <a:srgbClr val="FFFFFF"/>
                </a:solidFill>
              </a:rPr>
              <a:t>Powertrain Systems</a:t>
            </a:r>
          </a:p>
        </p:txBody>
      </p:sp>
      <p:sp>
        <p:nvSpPr>
          <p:cNvPr id="68" name="backgroundFixed">
            <a:extLst>
              <a:ext uri="{FF2B5EF4-FFF2-40B4-BE49-F238E27FC236}">
                <a16:creationId xmlns:a16="http://schemas.microsoft.com/office/drawing/2014/main" id="{BBA500B4-C4DC-3636-900B-B27361F601BF}"/>
              </a:ext>
            </a:extLst>
          </p:cNvPr>
          <p:cNvSpPr/>
          <p:nvPr>
            <p:custDataLst>
              <p:tags r:id="rId9"/>
            </p:custDataLst>
          </p:nvPr>
        </p:nvSpPr>
        <p:spPr>
          <a:xfrm>
            <a:off x="5333383" y="3362747"/>
            <a:ext cx="720000" cy="720000"/>
          </a:xfrm>
          <a:prstGeom prst="rect">
            <a:avLst/>
          </a:prstGeom>
          <a:solidFill>
            <a:srgbClr val="5500B4"/>
          </a:solidFill>
          <a:ln w="6350" cap="flat" cmpd="sng" algn="ctr">
            <a:solidFill>
              <a:srgbClr val="5500B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a:solidFill>
                <a:schemeClr val="bg1"/>
              </a:solidFill>
            </a:endParaRPr>
          </a:p>
        </p:txBody>
      </p:sp>
      <p:grpSp>
        <p:nvGrpSpPr>
          <p:cNvPr id="69" name="easyIcon">
            <a:extLst>
              <a:ext uri="{FF2B5EF4-FFF2-40B4-BE49-F238E27FC236}">
                <a16:creationId xmlns:a16="http://schemas.microsoft.com/office/drawing/2014/main" id="{B440D0AF-4FB9-C126-E729-E0AF57DC7B59}"/>
              </a:ext>
            </a:extLst>
          </p:cNvPr>
          <p:cNvGrpSpPr>
            <a:grpSpLocks noChangeAspect="1"/>
          </p:cNvGrpSpPr>
          <p:nvPr>
            <p:custDataLst>
              <p:tags r:id="rId10"/>
            </p:custDataLst>
          </p:nvPr>
        </p:nvGrpSpPr>
        <p:grpSpPr>
          <a:xfrm>
            <a:off x="5328196" y="3380513"/>
            <a:ext cx="720000" cy="720000"/>
            <a:chOff x="8080200" y="1150756"/>
            <a:chExt cx="721100" cy="721100"/>
          </a:xfrm>
        </p:grpSpPr>
        <p:sp>
          <p:nvSpPr>
            <p:cNvPr id="70" name="backgroundFixed">
              <a:extLst>
                <a:ext uri="{FF2B5EF4-FFF2-40B4-BE49-F238E27FC236}">
                  <a16:creationId xmlns:a16="http://schemas.microsoft.com/office/drawing/2014/main" id="{A5646FDB-4DCD-6FFD-6B09-FEF7448B42B8}"/>
                </a:ext>
              </a:extLst>
            </p:cNvPr>
            <p:cNvSpPr/>
            <p:nvPr>
              <p:custDataLst>
                <p:tags r:id="rId11"/>
              </p:custDataLst>
            </p:nvPr>
          </p:nvSpPr>
          <p:spPr>
            <a:xfrm>
              <a:off x="8080200" y="1150756"/>
              <a:ext cx="721100" cy="72110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a:solidFill>
                  <a:schemeClr val="bg1"/>
                </a:solidFill>
              </a:endParaRPr>
            </a:p>
          </p:txBody>
        </p:sp>
        <p:pic>
          <p:nvPicPr>
            <p:cNvPr id="71" name="Vector">
              <a:extLst>
                <a:ext uri="{FF2B5EF4-FFF2-40B4-BE49-F238E27FC236}">
                  <a16:creationId xmlns:a16="http://schemas.microsoft.com/office/drawing/2014/main" id="{0ECA31E5-9183-C3B0-FD9B-8686376CE162}"/>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bwMode="gray">
            <a:xfrm>
              <a:off x="8080200" y="1150756"/>
              <a:ext cx="721100" cy="721100"/>
            </a:xfrm>
            <a:prstGeom prst="rect">
              <a:avLst/>
            </a:prstGeom>
          </p:spPr>
        </p:pic>
      </p:grpSp>
      <p:sp>
        <p:nvSpPr>
          <p:cNvPr id="73" name="Footer Placeholder 2">
            <a:extLst>
              <a:ext uri="{FF2B5EF4-FFF2-40B4-BE49-F238E27FC236}">
                <a16:creationId xmlns:a16="http://schemas.microsoft.com/office/drawing/2014/main" id="{9DD2BAC5-1AED-3FA2-7900-E1A1C7FC7D41}"/>
              </a:ext>
            </a:extLst>
          </p:cNvPr>
          <p:cNvSpPr>
            <a:spLocks noGrp="1"/>
          </p:cNvSpPr>
          <p:nvPr>
            <p:ph type="ftr" sz="quarter" idx="10"/>
          </p:nvPr>
        </p:nvSpPr>
        <p:spPr>
          <a:xfrm>
            <a:off x="972123" y="6048375"/>
            <a:ext cx="4608513" cy="179364"/>
          </a:xfrm>
        </p:spPr>
        <p:txBody>
          <a:bodyPr/>
          <a:lstStyle/>
          <a:p>
            <a:r>
              <a:rPr lang="en-US" dirty="0">
                <a:solidFill>
                  <a:schemeClr val="bg1"/>
                </a:solidFill>
              </a:rPr>
              <a:t>IAV  05/2025  IAVJ  DKO  Status: draft, confidential</a:t>
            </a:r>
          </a:p>
        </p:txBody>
      </p:sp>
    </p:spTree>
    <p:extLst>
      <p:ext uri="{BB962C8B-B14F-4D97-AF65-F5344CB8AC3E}">
        <p14:creationId xmlns:p14="http://schemas.microsoft.com/office/powerpoint/2010/main" val="34068430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05D5F7-0A15-BB8B-087C-2EE7EDC7DA70}"/>
              </a:ext>
            </a:extLst>
          </p:cNvPr>
          <p:cNvSpPr>
            <a:spLocks noGrp="1"/>
          </p:cNvSpPr>
          <p:nvPr>
            <p:ph type="title"/>
          </p:nvPr>
        </p:nvSpPr>
        <p:spPr/>
        <p:txBody>
          <a:bodyPr/>
          <a:lstStyle/>
          <a:p>
            <a:r>
              <a:rPr lang="en-US" dirty="0"/>
              <a:t>Summary of the Attack</a:t>
            </a:r>
          </a:p>
        </p:txBody>
      </p:sp>
      <p:sp>
        <p:nvSpPr>
          <p:cNvPr id="4" name="Slide Number Placeholder 3">
            <a:extLst>
              <a:ext uri="{FF2B5EF4-FFF2-40B4-BE49-F238E27FC236}">
                <a16:creationId xmlns:a16="http://schemas.microsoft.com/office/drawing/2014/main" id="{79A2A3CC-C185-F1ED-DE0B-B4740251EE73}"/>
              </a:ext>
            </a:extLst>
          </p:cNvPr>
          <p:cNvSpPr>
            <a:spLocks noGrp="1"/>
          </p:cNvSpPr>
          <p:nvPr>
            <p:ph type="sldNum" sz="quarter" idx="11"/>
          </p:nvPr>
        </p:nvSpPr>
        <p:spPr/>
        <p:txBody>
          <a:bodyPr/>
          <a:lstStyle/>
          <a:p>
            <a:fld id="{DD6C52D8-AF7F-4297-9A35-2617B7FF1801}" type="slidenum">
              <a:rPr lang="en-US" smtClean="0"/>
              <a:pPr/>
              <a:t>20</a:t>
            </a:fld>
            <a:endParaRPr lang="en-US" dirty="0"/>
          </a:p>
        </p:txBody>
      </p:sp>
      <p:sp>
        <p:nvSpPr>
          <p:cNvPr id="5" name="Text Placeholder 4">
            <a:extLst>
              <a:ext uri="{FF2B5EF4-FFF2-40B4-BE49-F238E27FC236}">
                <a16:creationId xmlns:a16="http://schemas.microsoft.com/office/drawing/2014/main" id="{02BC4102-5A8E-D3CD-326A-B5874BBB8D47}"/>
              </a:ext>
            </a:extLst>
          </p:cNvPr>
          <p:cNvSpPr>
            <a:spLocks noGrp="1"/>
          </p:cNvSpPr>
          <p:nvPr>
            <p:ph type="body" sz="quarter" idx="12"/>
          </p:nvPr>
        </p:nvSpPr>
        <p:spPr>
          <a:xfrm>
            <a:off x="539750" y="1295400"/>
            <a:ext cx="5040313" cy="2155975"/>
          </a:xfrm>
        </p:spPr>
        <p:txBody>
          <a:bodyPr/>
          <a:lstStyle/>
          <a:p>
            <a:r>
              <a:rPr lang="en-US" dirty="0"/>
              <a:t>An attacker could </a:t>
            </a:r>
            <a:r>
              <a:rPr lang="en-US" dirty="0">
                <a:solidFill>
                  <a:schemeClr val="accent4"/>
                </a:solidFill>
              </a:rPr>
              <a:t>remotely access</a:t>
            </a:r>
            <a:r>
              <a:rPr lang="en-US" dirty="0"/>
              <a:t> and control </a:t>
            </a:r>
            <a:r>
              <a:rPr lang="en-US" dirty="0">
                <a:solidFill>
                  <a:schemeClr val="accent4"/>
                </a:solidFill>
              </a:rPr>
              <a:t>any vehicle</a:t>
            </a:r>
            <a:r>
              <a:rPr lang="en-US" dirty="0"/>
              <a:t> associated with the VIN/license plate:</a:t>
            </a:r>
          </a:p>
          <a:p>
            <a:pPr lvl="1"/>
            <a:r>
              <a:rPr lang="en-US" dirty="0">
                <a:solidFill>
                  <a:schemeClr val="accent4"/>
                </a:solidFill>
              </a:rPr>
              <a:t>unlock </a:t>
            </a:r>
            <a:r>
              <a:rPr lang="en-US" dirty="0"/>
              <a:t>the car</a:t>
            </a:r>
          </a:p>
          <a:p>
            <a:pPr lvl="1"/>
            <a:r>
              <a:rPr lang="en-US" dirty="0">
                <a:solidFill>
                  <a:schemeClr val="accent4"/>
                </a:solidFill>
              </a:rPr>
              <a:t>start</a:t>
            </a:r>
            <a:r>
              <a:rPr lang="en-US" dirty="0"/>
              <a:t> the car</a:t>
            </a:r>
          </a:p>
          <a:p>
            <a:pPr lvl="1"/>
            <a:r>
              <a:rPr lang="en-US" dirty="0">
                <a:solidFill>
                  <a:schemeClr val="accent4"/>
                </a:solidFill>
              </a:rPr>
              <a:t>track</a:t>
            </a:r>
            <a:r>
              <a:rPr lang="en-US" dirty="0"/>
              <a:t> its location and access location history</a:t>
            </a:r>
          </a:p>
          <a:p>
            <a:endParaRPr lang="en-US" dirty="0"/>
          </a:p>
        </p:txBody>
      </p:sp>
      <p:sp>
        <p:nvSpPr>
          <p:cNvPr id="6" name="Text Placeholder 5">
            <a:extLst>
              <a:ext uri="{FF2B5EF4-FFF2-40B4-BE49-F238E27FC236}">
                <a16:creationId xmlns:a16="http://schemas.microsoft.com/office/drawing/2014/main" id="{5B344A9F-9C72-6560-8FB6-22C180158087}"/>
              </a:ext>
            </a:extLst>
          </p:cNvPr>
          <p:cNvSpPr>
            <a:spLocks noGrp="1"/>
          </p:cNvSpPr>
          <p:nvPr>
            <p:ph type="body" sz="quarter" idx="13"/>
          </p:nvPr>
        </p:nvSpPr>
        <p:spPr>
          <a:xfrm>
            <a:off x="5952952" y="1295400"/>
            <a:ext cx="5040313" cy="3247556"/>
          </a:xfrm>
        </p:spPr>
        <p:txBody>
          <a:bodyPr/>
          <a:lstStyle/>
          <a:p>
            <a:r>
              <a:rPr lang="en-US" dirty="0"/>
              <a:t>An attacker could </a:t>
            </a:r>
            <a:r>
              <a:rPr lang="en-US" dirty="0">
                <a:solidFill>
                  <a:schemeClr val="accent4"/>
                </a:solidFill>
              </a:rPr>
              <a:t>remotely extract</a:t>
            </a:r>
            <a:r>
              <a:rPr lang="en-US" dirty="0"/>
              <a:t> information associated with the VIN/license plate:</a:t>
            </a:r>
          </a:p>
          <a:p>
            <a:pPr lvl="1"/>
            <a:r>
              <a:rPr lang="en-US" dirty="0"/>
              <a:t>Full </a:t>
            </a:r>
            <a:r>
              <a:rPr lang="en-US" dirty="0">
                <a:solidFill>
                  <a:schemeClr val="accent4"/>
                </a:solidFill>
              </a:rPr>
              <a:t>name</a:t>
            </a:r>
            <a:r>
              <a:rPr lang="en-US" dirty="0"/>
              <a:t> of vehicle owner</a:t>
            </a:r>
          </a:p>
          <a:p>
            <a:pPr lvl="1"/>
            <a:r>
              <a:rPr lang="en-US" dirty="0"/>
              <a:t>Mobile </a:t>
            </a:r>
            <a:r>
              <a:rPr lang="en-US" dirty="0">
                <a:solidFill>
                  <a:schemeClr val="accent4"/>
                </a:solidFill>
              </a:rPr>
              <a:t>phone number</a:t>
            </a:r>
          </a:p>
          <a:p>
            <a:pPr lvl="1"/>
            <a:r>
              <a:rPr lang="en-US" dirty="0">
                <a:solidFill>
                  <a:schemeClr val="accent4"/>
                </a:solidFill>
              </a:rPr>
              <a:t>Email</a:t>
            </a:r>
            <a:r>
              <a:rPr lang="en-US" dirty="0"/>
              <a:t> address</a:t>
            </a:r>
          </a:p>
          <a:p>
            <a:pPr lvl="1"/>
            <a:r>
              <a:rPr lang="en-US" dirty="0">
                <a:solidFill>
                  <a:schemeClr val="accent4"/>
                </a:solidFill>
              </a:rPr>
              <a:t>Vehicle</a:t>
            </a:r>
            <a:r>
              <a:rPr lang="en-US" dirty="0"/>
              <a:t> information (VIN, license plate number, make, model, year)</a:t>
            </a:r>
          </a:p>
          <a:p>
            <a:endParaRPr lang="en-US" dirty="0"/>
          </a:p>
          <a:p>
            <a:endParaRPr lang="en-US" dirty="0"/>
          </a:p>
        </p:txBody>
      </p:sp>
      <p:sp>
        <p:nvSpPr>
          <p:cNvPr id="7" name="Rectangle: Rounded Corners 6">
            <a:extLst>
              <a:ext uri="{FF2B5EF4-FFF2-40B4-BE49-F238E27FC236}">
                <a16:creationId xmlns:a16="http://schemas.microsoft.com/office/drawing/2014/main" id="{1220FF87-6DBA-8B32-3C10-FA26811469F9}"/>
              </a:ext>
            </a:extLst>
          </p:cNvPr>
          <p:cNvSpPr/>
          <p:nvPr/>
        </p:nvSpPr>
        <p:spPr>
          <a:xfrm>
            <a:off x="1007716" y="5316168"/>
            <a:ext cx="9397044" cy="52908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en-US" sz="2000" dirty="0"/>
              <a:t>Attacker could gain control of vehicles and extract personal information</a:t>
            </a:r>
          </a:p>
        </p:txBody>
      </p:sp>
      <p:grpSp>
        <p:nvGrpSpPr>
          <p:cNvPr id="8" name="easyIcon">
            <a:extLst>
              <a:ext uri="{FF2B5EF4-FFF2-40B4-BE49-F238E27FC236}">
                <a16:creationId xmlns:a16="http://schemas.microsoft.com/office/drawing/2014/main" id="{BE134D7C-C52D-B82A-D2F9-A11716266AC2}"/>
              </a:ext>
            </a:extLst>
          </p:cNvPr>
          <p:cNvGrpSpPr>
            <a:grpSpLocks noChangeAspect="1"/>
          </p:cNvGrpSpPr>
          <p:nvPr>
            <p:custDataLst>
              <p:tags r:id="rId1"/>
            </p:custDataLst>
          </p:nvPr>
        </p:nvGrpSpPr>
        <p:grpSpPr>
          <a:xfrm>
            <a:off x="4416299" y="4134607"/>
            <a:ext cx="720000" cy="720000"/>
            <a:chOff x="2719741" y="1150756"/>
            <a:chExt cx="721100" cy="721100"/>
          </a:xfrm>
        </p:grpSpPr>
        <p:sp>
          <p:nvSpPr>
            <p:cNvPr id="9" name="backgroundFixed">
              <a:extLst>
                <a:ext uri="{FF2B5EF4-FFF2-40B4-BE49-F238E27FC236}">
                  <a16:creationId xmlns:a16="http://schemas.microsoft.com/office/drawing/2014/main" id="{07670515-AAA5-5DBE-243B-7E29A8AB22B2}"/>
                </a:ext>
              </a:extLst>
            </p:cNvPr>
            <p:cNvSpPr/>
            <p:nvPr>
              <p:custDataLst>
                <p:tags r:id="rId16"/>
              </p:custDataLst>
            </p:nvPr>
          </p:nvSpPr>
          <p:spPr>
            <a:xfrm>
              <a:off x="2719741" y="1150756"/>
              <a:ext cx="721100" cy="721100"/>
            </a:xfrm>
            <a:prstGeom prst="ellipse">
              <a:avLst/>
            </a:prstGeom>
            <a:solidFill>
              <a:srgbClr val="52C9FF"/>
            </a:solidFill>
            <a:ln w="6350" cap="flat" cmpd="sng" algn="ctr">
              <a:solidFill>
                <a:srgbClr val="52C9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10" name="Vector">
              <a:extLst>
                <a:ext uri="{FF2B5EF4-FFF2-40B4-BE49-F238E27FC236}">
                  <a16:creationId xmlns:a16="http://schemas.microsoft.com/office/drawing/2014/main" id="{F0CCA666-E7EF-3F2E-F044-D5870E04BD3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bwMode="gray">
            <a:xfrm>
              <a:off x="2719741" y="1150756"/>
              <a:ext cx="721100" cy="721100"/>
            </a:xfrm>
            <a:prstGeom prst="rect">
              <a:avLst/>
            </a:prstGeom>
          </p:spPr>
        </p:pic>
      </p:grpSp>
      <p:grpSp>
        <p:nvGrpSpPr>
          <p:cNvPr id="14" name="easyIcon">
            <a:extLst>
              <a:ext uri="{FF2B5EF4-FFF2-40B4-BE49-F238E27FC236}">
                <a16:creationId xmlns:a16="http://schemas.microsoft.com/office/drawing/2014/main" id="{FDACFF9B-CA59-5545-8B8D-2BD4D0F7976A}"/>
              </a:ext>
            </a:extLst>
          </p:cNvPr>
          <p:cNvGrpSpPr>
            <a:grpSpLocks noChangeAspect="1"/>
          </p:cNvGrpSpPr>
          <p:nvPr>
            <p:custDataLst>
              <p:tags r:id="rId2"/>
            </p:custDataLst>
          </p:nvPr>
        </p:nvGrpSpPr>
        <p:grpSpPr>
          <a:xfrm>
            <a:off x="3240935" y="4126745"/>
            <a:ext cx="720000" cy="720000"/>
            <a:chOff x="5935452" y="2158867"/>
            <a:chExt cx="721100" cy="721100"/>
          </a:xfrm>
        </p:grpSpPr>
        <p:sp>
          <p:nvSpPr>
            <p:cNvPr id="15" name="backgroundFixed">
              <a:extLst>
                <a:ext uri="{FF2B5EF4-FFF2-40B4-BE49-F238E27FC236}">
                  <a16:creationId xmlns:a16="http://schemas.microsoft.com/office/drawing/2014/main" id="{76AAC13A-2F0A-05F8-A92C-12D2318B010F}"/>
                </a:ext>
              </a:extLst>
            </p:cNvPr>
            <p:cNvSpPr/>
            <p:nvPr>
              <p:custDataLst>
                <p:tags r:id="rId15"/>
              </p:custDataLst>
            </p:nvPr>
          </p:nvSpPr>
          <p:spPr>
            <a:xfrm>
              <a:off x="5935452" y="2158867"/>
              <a:ext cx="721100" cy="721100"/>
            </a:xfrm>
            <a:prstGeom prst="ellipse">
              <a:avLst/>
            </a:prstGeom>
            <a:solidFill>
              <a:srgbClr val="52C9FF"/>
            </a:solidFill>
            <a:ln w="6350" cap="flat" cmpd="sng" algn="ctr">
              <a:solidFill>
                <a:srgbClr val="52C9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16" name="Vector">
              <a:extLst>
                <a:ext uri="{FF2B5EF4-FFF2-40B4-BE49-F238E27FC236}">
                  <a16:creationId xmlns:a16="http://schemas.microsoft.com/office/drawing/2014/main" id="{BFB716ED-4D6E-DA24-0ECB-D640AB241688}"/>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bwMode="gray">
            <a:xfrm>
              <a:off x="5935452" y="2158867"/>
              <a:ext cx="721100" cy="721100"/>
            </a:xfrm>
            <a:prstGeom prst="rect">
              <a:avLst/>
            </a:prstGeom>
          </p:spPr>
        </p:pic>
      </p:grpSp>
      <p:grpSp>
        <p:nvGrpSpPr>
          <p:cNvPr id="23" name="easyIcon">
            <a:extLst>
              <a:ext uri="{FF2B5EF4-FFF2-40B4-BE49-F238E27FC236}">
                <a16:creationId xmlns:a16="http://schemas.microsoft.com/office/drawing/2014/main" id="{E6D7D558-0253-79DE-226E-94D53FF34232}"/>
              </a:ext>
            </a:extLst>
          </p:cNvPr>
          <p:cNvGrpSpPr>
            <a:grpSpLocks noChangeAspect="1"/>
          </p:cNvGrpSpPr>
          <p:nvPr>
            <p:custDataLst>
              <p:tags r:id="rId3"/>
            </p:custDataLst>
          </p:nvPr>
        </p:nvGrpSpPr>
        <p:grpSpPr>
          <a:xfrm>
            <a:off x="2118305" y="4109466"/>
            <a:ext cx="720000" cy="720000"/>
            <a:chOff x="4469047" y="2100487"/>
            <a:chExt cx="1524000" cy="1524000"/>
          </a:xfrm>
        </p:grpSpPr>
        <p:sp>
          <p:nvSpPr>
            <p:cNvPr id="24" name="backgroundFixed">
              <a:extLst>
                <a:ext uri="{FF2B5EF4-FFF2-40B4-BE49-F238E27FC236}">
                  <a16:creationId xmlns:a16="http://schemas.microsoft.com/office/drawing/2014/main" id="{46CCB7F8-25C7-E945-0881-A0E00FDC03FD}"/>
                </a:ext>
              </a:extLst>
            </p:cNvPr>
            <p:cNvSpPr/>
            <p:nvPr>
              <p:custDataLst>
                <p:tags r:id="rId14"/>
              </p:custDataLst>
            </p:nvPr>
          </p:nvSpPr>
          <p:spPr>
            <a:xfrm>
              <a:off x="4469047" y="2100487"/>
              <a:ext cx="1524000" cy="1524000"/>
            </a:xfrm>
            <a:prstGeom prst="ellipse">
              <a:avLst/>
            </a:prstGeom>
            <a:solidFill>
              <a:srgbClr val="52C9FF"/>
            </a:solidFill>
            <a:ln w="6350" cap="flat" cmpd="sng" algn="ctr">
              <a:solidFill>
                <a:srgbClr val="52C9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25" name="Vector">
              <a:extLst>
                <a:ext uri="{FF2B5EF4-FFF2-40B4-BE49-F238E27FC236}">
                  <a16:creationId xmlns:a16="http://schemas.microsoft.com/office/drawing/2014/main" id="{E241CC2A-B248-57B4-D41E-1E1F7E299B5E}"/>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bwMode="gray">
            <a:xfrm>
              <a:off x="4469047" y="2100487"/>
              <a:ext cx="1524000" cy="1524000"/>
            </a:xfrm>
            <a:prstGeom prst="rect">
              <a:avLst/>
            </a:prstGeom>
          </p:spPr>
        </p:pic>
      </p:grpSp>
      <p:grpSp>
        <p:nvGrpSpPr>
          <p:cNvPr id="26" name="easyIcon">
            <a:extLst>
              <a:ext uri="{FF2B5EF4-FFF2-40B4-BE49-F238E27FC236}">
                <a16:creationId xmlns:a16="http://schemas.microsoft.com/office/drawing/2014/main" id="{2A1CB9AA-9701-A935-52E9-90DF483FEC09}"/>
              </a:ext>
            </a:extLst>
          </p:cNvPr>
          <p:cNvGrpSpPr>
            <a:grpSpLocks noChangeAspect="1"/>
          </p:cNvGrpSpPr>
          <p:nvPr>
            <p:custDataLst>
              <p:tags r:id="rId4"/>
            </p:custDataLst>
          </p:nvPr>
        </p:nvGrpSpPr>
        <p:grpSpPr>
          <a:xfrm>
            <a:off x="1013947" y="4110050"/>
            <a:ext cx="720000" cy="720000"/>
            <a:chOff x="669861" y="3240449"/>
            <a:chExt cx="720000" cy="720000"/>
          </a:xfrm>
        </p:grpSpPr>
        <p:sp>
          <p:nvSpPr>
            <p:cNvPr id="27" name="backgroundFixed">
              <a:extLst>
                <a:ext uri="{FF2B5EF4-FFF2-40B4-BE49-F238E27FC236}">
                  <a16:creationId xmlns:a16="http://schemas.microsoft.com/office/drawing/2014/main" id="{16850D12-D6F8-5B3E-456D-18579D477244}"/>
                </a:ext>
              </a:extLst>
            </p:cNvPr>
            <p:cNvSpPr/>
            <p:nvPr>
              <p:custDataLst>
                <p:tags r:id="rId13"/>
              </p:custDataLst>
            </p:nvPr>
          </p:nvSpPr>
          <p:spPr>
            <a:xfrm>
              <a:off x="669861" y="3240449"/>
              <a:ext cx="720000" cy="720000"/>
            </a:xfrm>
            <a:prstGeom prst="ellipse">
              <a:avLst/>
            </a:prstGeom>
            <a:solidFill>
              <a:srgbClr val="52C9FF"/>
            </a:solidFill>
            <a:ln w="6350" cap="flat" cmpd="sng" algn="ctr">
              <a:solidFill>
                <a:srgbClr val="52C9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28" name="Vector">
              <a:extLst>
                <a:ext uri="{FF2B5EF4-FFF2-40B4-BE49-F238E27FC236}">
                  <a16:creationId xmlns:a16="http://schemas.microsoft.com/office/drawing/2014/main" id="{B977F44A-7CA6-93EE-4385-7F9E0C335930}"/>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bwMode="gray">
            <a:xfrm>
              <a:off x="669861" y="3240449"/>
              <a:ext cx="720000" cy="720000"/>
            </a:xfrm>
            <a:prstGeom prst="rect">
              <a:avLst/>
            </a:prstGeom>
          </p:spPr>
        </p:pic>
      </p:grpSp>
      <p:grpSp>
        <p:nvGrpSpPr>
          <p:cNvPr id="29" name="easyIcon">
            <a:extLst>
              <a:ext uri="{FF2B5EF4-FFF2-40B4-BE49-F238E27FC236}">
                <a16:creationId xmlns:a16="http://schemas.microsoft.com/office/drawing/2014/main" id="{9B4E373E-3C5C-D215-198E-983EE0D7BAB7}"/>
              </a:ext>
            </a:extLst>
          </p:cNvPr>
          <p:cNvGrpSpPr>
            <a:grpSpLocks noChangeAspect="1"/>
          </p:cNvGrpSpPr>
          <p:nvPr>
            <p:custDataLst>
              <p:tags r:id="rId5"/>
            </p:custDataLst>
          </p:nvPr>
        </p:nvGrpSpPr>
        <p:grpSpPr>
          <a:xfrm>
            <a:off x="6408316" y="4125660"/>
            <a:ext cx="720000" cy="720000"/>
            <a:chOff x="5520242" y="2100487"/>
            <a:chExt cx="1524000" cy="1524000"/>
          </a:xfrm>
        </p:grpSpPr>
        <p:sp>
          <p:nvSpPr>
            <p:cNvPr id="30" name="backgroundFixed">
              <a:extLst>
                <a:ext uri="{FF2B5EF4-FFF2-40B4-BE49-F238E27FC236}">
                  <a16:creationId xmlns:a16="http://schemas.microsoft.com/office/drawing/2014/main" id="{1D66FBD0-E90C-72F6-19CD-2060E23ED96A}"/>
                </a:ext>
              </a:extLst>
            </p:cNvPr>
            <p:cNvSpPr/>
            <p:nvPr>
              <p:custDataLst>
                <p:tags r:id="rId12"/>
              </p:custDataLst>
            </p:nvPr>
          </p:nvSpPr>
          <p:spPr>
            <a:xfrm>
              <a:off x="5520242" y="2100487"/>
              <a:ext cx="1524000" cy="1524000"/>
            </a:xfrm>
            <a:prstGeom prst="ellipse">
              <a:avLst/>
            </a:prstGeom>
            <a:solidFill>
              <a:srgbClr val="52C9FF"/>
            </a:solidFill>
            <a:ln w="6350" cap="flat" cmpd="sng" algn="ctr">
              <a:solidFill>
                <a:srgbClr val="52C9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31" name="Vector">
              <a:extLst>
                <a:ext uri="{FF2B5EF4-FFF2-40B4-BE49-F238E27FC236}">
                  <a16:creationId xmlns:a16="http://schemas.microsoft.com/office/drawing/2014/main" id="{F93C629B-6D7B-1AE1-188E-B9682F940544}"/>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bwMode="gray">
            <a:xfrm>
              <a:off x="5520242" y="2100487"/>
              <a:ext cx="1524000" cy="1524000"/>
            </a:xfrm>
            <a:prstGeom prst="rect">
              <a:avLst/>
            </a:prstGeom>
          </p:spPr>
        </p:pic>
      </p:grpSp>
      <p:grpSp>
        <p:nvGrpSpPr>
          <p:cNvPr id="32" name="easyIcon">
            <a:extLst>
              <a:ext uri="{FF2B5EF4-FFF2-40B4-BE49-F238E27FC236}">
                <a16:creationId xmlns:a16="http://schemas.microsoft.com/office/drawing/2014/main" id="{60E70511-377D-361E-0E51-F19063E997CA}"/>
              </a:ext>
            </a:extLst>
          </p:cNvPr>
          <p:cNvGrpSpPr>
            <a:grpSpLocks noChangeAspect="1"/>
          </p:cNvGrpSpPr>
          <p:nvPr>
            <p:custDataLst>
              <p:tags r:id="rId6"/>
            </p:custDataLst>
          </p:nvPr>
        </p:nvGrpSpPr>
        <p:grpSpPr>
          <a:xfrm>
            <a:off x="7529165" y="4125660"/>
            <a:ext cx="720000" cy="720000"/>
            <a:chOff x="9152510" y="1150757"/>
            <a:chExt cx="720001" cy="720000"/>
          </a:xfrm>
        </p:grpSpPr>
        <p:sp>
          <p:nvSpPr>
            <p:cNvPr id="33" name="backgroundFixed">
              <a:extLst>
                <a:ext uri="{FF2B5EF4-FFF2-40B4-BE49-F238E27FC236}">
                  <a16:creationId xmlns:a16="http://schemas.microsoft.com/office/drawing/2014/main" id="{BD27395B-45F1-1301-4711-650C032D8B40}"/>
                </a:ext>
              </a:extLst>
            </p:cNvPr>
            <p:cNvSpPr/>
            <p:nvPr>
              <p:custDataLst>
                <p:tags r:id="rId11"/>
              </p:custDataLst>
            </p:nvPr>
          </p:nvSpPr>
          <p:spPr>
            <a:xfrm>
              <a:off x="9152510" y="1150757"/>
              <a:ext cx="720001" cy="720000"/>
            </a:xfrm>
            <a:prstGeom prst="ellipse">
              <a:avLst/>
            </a:prstGeom>
            <a:solidFill>
              <a:srgbClr val="52C9FF"/>
            </a:solidFill>
            <a:ln w="6350" cap="flat" cmpd="sng" algn="ctr">
              <a:solidFill>
                <a:srgbClr val="52C9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34" name="Vector">
              <a:extLst>
                <a:ext uri="{FF2B5EF4-FFF2-40B4-BE49-F238E27FC236}">
                  <a16:creationId xmlns:a16="http://schemas.microsoft.com/office/drawing/2014/main" id="{5D18BBB3-E784-D117-4FEC-04B635880027}"/>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bwMode="gray">
            <a:xfrm>
              <a:off x="9152510" y="1150757"/>
              <a:ext cx="720000" cy="720000"/>
            </a:xfrm>
            <a:prstGeom prst="rect">
              <a:avLst/>
            </a:prstGeom>
          </p:spPr>
        </p:pic>
      </p:grpSp>
      <p:grpSp>
        <p:nvGrpSpPr>
          <p:cNvPr id="35" name="easyIcon">
            <a:extLst>
              <a:ext uri="{FF2B5EF4-FFF2-40B4-BE49-F238E27FC236}">
                <a16:creationId xmlns:a16="http://schemas.microsoft.com/office/drawing/2014/main" id="{96492F2C-B558-97BF-A85D-AA41FC2DF427}"/>
              </a:ext>
            </a:extLst>
          </p:cNvPr>
          <p:cNvGrpSpPr>
            <a:grpSpLocks noChangeAspect="1"/>
          </p:cNvGrpSpPr>
          <p:nvPr>
            <p:custDataLst>
              <p:tags r:id="rId7"/>
            </p:custDataLst>
          </p:nvPr>
        </p:nvGrpSpPr>
        <p:grpSpPr>
          <a:xfrm>
            <a:off x="8650013" y="4125660"/>
            <a:ext cx="720000" cy="720000"/>
            <a:chOff x="9152511" y="1150755"/>
            <a:chExt cx="721100" cy="721100"/>
          </a:xfrm>
        </p:grpSpPr>
        <p:sp>
          <p:nvSpPr>
            <p:cNvPr id="36" name="backgroundFixed">
              <a:extLst>
                <a:ext uri="{FF2B5EF4-FFF2-40B4-BE49-F238E27FC236}">
                  <a16:creationId xmlns:a16="http://schemas.microsoft.com/office/drawing/2014/main" id="{2AE099B6-F6DE-124D-5A0B-AB6FD16A1141}"/>
                </a:ext>
              </a:extLst>
            </p:cNvPr>
            <p:cNvSpPr/>
            <p:nvPr>
              <p:custDataLst>
                <p:tags r:id="rId10"/>
              </p:custDataLst>
            </p:nvPr>
          </p:nvSpPr>
          <p:spPr>
            <a:xfrm>
              <a:off x="9152511" y="1150755"/>
              <a:ext cx="721100" cy="721100"/>
            </a:xfrm>
            <a:prstGeom prst="ellipse">
              <a:avLst/>
            </a:prstGeom>
            <a:solidFill>
              <a:srgbClr val="52C9FF"/>
            </a:solidFill>
            <a:ln w="6350" cap="flat" cmpd="sng" algn="ctr">
              <a:solidFill>
                <a:srgbClr val="52C9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37" name="Vector">
              <a:extLst>
                <a:ext uri="{FF2B5EF4-FFF2-40B4-BE49-F238E27FC236}">
                  <a16:creationId xmlns:a16="http://schemas.microsoft.com/office/drawing/2014/main" id="{D9C581A7-D44A-DACC-A0ED-827F55049532}"/>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bwMode="gray">
            <a:xfrm>
              <a:off x="9152511" y="1150755"/>
              <a:ext cx="721100" cy="721100"/>
            </a:xfrm>
            <a:prstGeom prst="rect">
              <a:avLst/>
            </a:prstGeom>
          </p:spPr>
        </p:pic>
      </p:grpSp>
      <p:grpSp>
        <p:nvGrpSpPr>
          <p:cNvPr id="38" name="easyIcon">
            <a:extLst>
              <a:ext uri="{FF2B5EF4-FFF2-40B4-BE49-F238E27FC236}">
                <a16:creationId xmlns:a16="http://schemas.microsoft.com/office/drawing/2014/main" id="{9A290050-7FC3-173B-98EE-46081E518C42}"/>
              </a:ext>
            </a:extLst>
          </p:cNvPr>
          <p:cNvGrpSpPr>
            <a:grpSpLocks noChangeAspect="1"/>
          </p:cNvGrpSpPr>
          <p:nvPr>
            <p:custDataLst>
              <p:tags r:id="rId8"/>
            </p:custDataLst>
          </p:nvPr>
        </p:nvGrpSpPr>
        <p:grpSpPr>
          <a:xfrm>
            <a:off x="9734000" y="4125660"/>
            <a:ext cx="720000" cy="720000"/>
            <a:chOff x="1315459" y="3360449"/>
            <a:chExt cx="1524000" cy="1524000"/>
          </a:xfrm>
        </p:grpSpPr>
        <p:sp>
          <p:nvSpPr>
            <p:cNvPr id="39" name="backgroundFixed">
              <a:extLst>
                <a:ext uri="{FF2B5EF4-FFF2-40B4-BE49-F238E27FC236}">
                  <a16:creationId xmlns:a16="http://schemas.microsoft.com/office/drawing/2014/main" id="{64F17371-1481-1101-1F34-78A0554249DF}"/>
                </a:ext>
              </a:extLst>
            </p:cNvPr>
            <p:cNvSpPr/>
            <p:nvPr>
              <p:custDataLst>
                <p:tags r:id="rId9"/>
              </p:custDataLst>
            </p:nvPr>
          </p:nvSpPr>
          <p:spPr>
            <a:xfrm>
              <a:off x="1315459" y="3360449"/>
              <a:ext cx="1524000" cy="1524000"/>
            </a:xfrm>
            <a:prstGeom prst="ellipse">
              <a:avLst/>
            </a:prstGeom>
            <a:solidFill>
              <a:srgbClr val="52C9FF"/>
            </a:solidFill>
            <a:ln w="6350" cap="flat" cmpd="sng" algn="ctr">
              <a:solidFill>
                <a:srgbClr val="52C9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40" name="Vector">
              <a:extLst>
                <a:ext uri="{FF2B5EF4-FFF2-40B4-BE49-F238E27FC236}">
                  <a16:creationId xmlns:a16="http://schemas.microsoft.com/office/drawing/2014/main" id="{DB09320F-AC6F-4DBD-7760-70F91D3859EA}"/>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bwMode="gray">
            <a:xfrm>
              <a:off x="1315459" y="3360449"/>
              <a:ext cx="1524000" cy="1524000"/>
            </a:xfrm>
            <a:prstGeom prst="rect">
              <a:avLst/>
            </a:prstGeom>
          </p:spPr>
        </p:pic>
      </p:grpSp>
      <p:sp>
        <p:nvSpPr>
          <p:cNvPr id="11" name="Footer Placeholder 2">
            <a:extLst>
              <a:ext uri="{FF2B5EF4-FFF2-40B4-BE49-F238E27FC236}">
                <a16:creationId xmlns:a16="http://schemas.microsoft.com/office/drawing/2014/main" id="{EB2A0735-63EC-4871-E1D1-022602A79535}"/>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spTree>
    <p:extLst>
      <p:ext uri="{BB962C8B-B14F-4D97-AF65-F5344CB8AC3E}">
        <p14:creationId xmlns:p14="http://schemas.microsoft.com/office/powerpoint/2010/main" val="29842081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F25B7-09B7-1879-7362-EFA4813BF8AB}"/>
              </a:ext>
            </a:extLst>
          </p:cNvPr>
          <p:cNvSpPr>
            <a:spLocks noGrp="1"/>
          </p:cNvSpPr>
          <p:nvPr>
            <p:ph type="title"/>
          </p:nvPr>
        </p:nvSpPr>
        <p:spPr/>
        <p:txBody>
          <a:bodyPr/>
          <a:lstStyle/>
          <a:p>
            <a:r>
              <a:rPr lang="en-US" dirty="0"/>
              <a:t>Disclosure &amp; Remediation</a:t>
            </a:r>
          </a:p>
        </p:txBody>
      </p:sp>
      <p:sp>
        <p:nvSpPr>
          <p:cNvPr id="4" name="Slide Number Placeholder 3">
            <a:extLst>
              <a:ext uri="{FF2B5EF4-FFF2-40B4-BE49-F238E27FC236}">
                <a16:creationId xmlns:a16="http://schemas.microsoft.com/office/drawing/2014/main" id="{5F59772C-3102-1279-3468-8E93AC7AEFDA}"/>
              </a:ext>
            </a:extLst>
          </p:cNvPr>
          <p:cNvSpPr>
            <a:spLocks noGrp="1"/>
          </p:cNvSpPr>
          <p:nvPr>
            <p:ph type="sldNum" sz="quarter" idx="11"/>
          </p:nvPr>
        </p:nvSpPr>
        <p:spPr/>
        <p:txBody>
          <a:bodyPr/>
          <a:lstStyle/>
          <a:p>
            <a:fld id="{DD6C52D8-AF7F-4297-9A35-2617B7FF1801}" type="slidenum">
              <a:rPr lang="en-US" smtClean="0"/>
              <a:pPr/>
              <a:t>21</a:t>
            </a:fld>
            <a:endParaRPr lang="en-US" dirty="0"/>
          </a:p>
        </p:txBody>
      </p:sp>
      <p:sp>
        <p:nvSpPr>
          <p:cNvPr id="5" name="Text Placeholder 4">
            <a:extLst>
              <a:ext uri="{FF2B5EF4-FFF2-40B4-BE49-F238E27FC236}">
                <a16:creationId xmlns:a16="http://schemas.microsoft.com/office/drawing/2014/main" id="{CA2D956C-CB32-AC2A-A5CC-4F7A34E3965C}"/>
              </a:ext>
            </a:extLst>
          </p:cNvPr>
          <p:cNvSpPr>
            <a:spLocks noGrp="1"/>
          </p:cNvSpPr>
          <p:nvPr>
            <p:ph type="body" sz="quarter" idx="12"/>
          </p:nvPr>
        </p:nvSpPr>
        <p:spPr>
          <a:xfrm>
            <a:off x="1535920" y="1295400"/>
            <a:ext cx="8280400" cy="3452740"/>
          </a:xfrm>
        </p:spPr>
        <p:txBody>
          <a:bodyPr/>
          <a:lstStyle/>
          <a:p>
            <a:endParaRPr lang="en-US" dirty="0"/>
          </a:p>
          <a:p>
            <a:r>
              <a:rPr lang="en-US" dirty="0"/>
              <a:t>Discovery: </a:t>
            </a:r>
            <a:r>
              <a:rPr lang="en-US" dirty="0">
                <a:solidFill>
                  <a:schemeClr val="accent4"/>
                </a:solidFill>
              </a:rPr>
              <a:t>June 11, 2024</a:t>
            </a:r>
            <a:r>
              <a:rPr lang="en-US" dirty="0"/>
              <a:t>, by security researchers</a:t>
            </a:r>
          </a:p>
          <a:p>
            <a:endParaRPr lang="en-US" dirty="0"/>
          </a:p>
          <a:p>
            <a:endParaRPr lang="en-US" dirty="0"/>
          </a:p>
          <a:p>
            <a:r>
              <a:rPr lang="en-US" dirty="0"/>
              <a:t>Reported to OEM: </a:t>
            </a:r>
            <a:r>
              <a:rPr lang="en-US" dirty="0">
                <a:solidFill>
                  <a:schemeClr val="accent4"/>
                </a:solidFill>
              </a:rPr>
              <a:t>Immediately</a:t>
            </a:r>
            <a:r>
              <a:rPr lang="en-US" dirty="0"/>
              <a:t> upon discovery</a:t>
            </a:r>
          </a:p>
          <a:p>
            <a:endParaRPr lang="en-US" dirty="0"/>
          </a:p>
          <a:p>
            <a:endParaRPr lang="en-US" dirty="0"/>
          </a:p>
          <a:p>
            <a:r>
              <a:rPr lang="en-US" dirty="0"/>
              <a:t>Patch Released: </a:t>
            </a:r>
            <a:r>
              <a:rPr lang="en-US" dirty="0">
                <a:solidFill>
                  <a:schemeClr val="accent4"/>
                </a:solidFill>
              </a:rPr>
              <a:t>August 14, 2024</a:t>
            </a:r>
          </a:p>
          <a:p>
            <a:endParaRPr lang="en-US" dirty="0"/>
          </a:p>
        </p:txBody>
      </p:sp>
      <p:grpSp>
        <p:nvGrpSpPr>
          <p:cNvPr id="9" name="easyIcon">
            <a:extLst>
              <a:ext uri="{FF2B5EF4-FFF2-40B4-BE49-F238E27FC236}">
                <a16:creationId xmlns:a16="http://schemas.microsoft.com/office/drawing/2014/main" id="{36DC5849-F96F-B16C-C1B7-F3226AC1FA4C}"/>
              </a:ext>
            </a:extLst>
          </p:cNvPr>
          <p:cNvGrpSpPr>
            <a:grpSpLocks noChangeAspect="1"/>
          </p:cNvGrpSpPr>
          <p:nvPr>
            <p:custDataLst>
              <p:tags r:id="rId1"/>
            </p:custDataLst>
          </p:nvPr>
        </p:nvGrpSpPr>
        <p:grpSpPr>
          <a:xfrm>
            <a:off x="527136" y="1475891"/>
            <a:ext cx="720000" cy="720000"/>
            <a:chOff x="7622635" y="2100487"/>
            <a:chExt cx="1524000" cy="1524000"/>
          </a:xfrm>
        </p:grpSpPr>
        <p:sp>
          <p:nvSpPr>
            <p:cNvPr id="10" name="backgroundFixed">
              <a:extLst>
                <a:ext uri="{FF2B5EF4-FFF2-40B4-BE49-F238E27FC236}">
                  <a16:creationId xmlns:a16="http://schemas.microsoft.com/office/drawing/2014/main" id="{F12D5FEA-748A-7172-D0BC-434C4EF1E920}"/>
                </a:ext>
              </a:extLst>
            </p:cNvPr>
            <p:cNvSpPr/>
            <p:nvPr>
              <p:custDataLst>
                <p:tags r:id="rId6"/>
              </p:custDataLst>
            </p:nvPr>
          </p:nvSpPr>
          <p:spPr>
            <a:xfrm>
              <a:off x="7622635" y="2100487"/>
              <a:ext cx="1524000" cy="1524000"/>
            </a:xfrm>
            <a:prstGeom prst="ellipse">
              <a:avLst/>
            </a:prstGeom>
            <a:solidFill>
              <a:srgbClr val="52C9FF"/>
            </a:solidFill>
            <a:ln w="6350" cap="flat" cmpd="sng" algn="ctr">
              <a:solidFill>
                <a:srgbClr val="52C9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11" name="Vector">
              <a:extLst>
                <a:ext uri="{FF2B5EF4-FFF2-40B4-BE49-F238E27FC236}">
                  <a16:creationId xmlns:a16="http://schemas.microsoft.com/office/drawing/2014/main" id="{CB7E57ED-9153-5FC3-221E-B28C2CEC5AD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bwMode="gray">
            <a:xfrm>
              <a:off x="7622635" y="2100487"/>
              <a:ext cx="1524000" cy="1524000"/>
            </a:xfrm>
            <a:prstGeom prst="rect">
              <a:avLst/>
            </a:prstGeom>
          </p:spPr>
        </p:pic>
      </p:grpSp>
      <p:grpSp>
        <p:nvGrpSpPr>
          <p:cNvPr id="12" name="easyIcon">
            <a:extLst>
              <a:ext uri="{FF2B5EF4-FFF2-40B4-BE49-F238E27FC236}">
                <a16:creationId xmlns:a16="http://schemas.microsoft.com/office/drawing/2014/main" id="{AE3597D0-E448-8AA0-CDED-CC8C0B3395A6}"/>
              </a:ext>
            </a:extLst>
          </p:cNvPr>
          <p:cNvGrpSpPr>
            <a:grpSpLocks noChangeAspect="1"/>
          </p:cNvGrpSpPr>
          <p:nvPr>
            <p:custDataLst>
              <p:tags r:id="rId2"/>
            </p:custDataLst>
          </p:nvPr>
        </p:nvGrpSpPr>
        <p:grpSpPr>
          <a:xfrm>
            <a:off x="527136" y="2661770"/>
            <a:ext cx="720000" cy="720000"/>
            <a:chOff x="5598244" y="3078087"/>
            <a:chExt cx="1524000" cy="1524000"/>
          </a:xfrm>
        </p:grpSpPr>
        <p:sp>
          <p:nvSpPr>
            <p:cNvPr id="13" name="backgroundFixed">
              <a:extLst>
                <a:ext uri="{FF2B5EF4-FFF2-40B4-BE49-F238E27FC236}">
                  <a16:creationId xmlns:a16="http://schemas.microsoft.com/office/drawing/2014/main" id="{CCEC52FB-3CF2-707C-7DE3-74C3664DF435}"/>
                </a:ext>
              </a:extLst>
            </p:cNvPr>
            <p:cNvSpPr/>
            <p:nvPr>
              <p:custDataLst>
                <p:tags r:id="rId5"/>
              </p:custDataLst>
            </p:nvPr>
          </p:nvSpPr>
          <p:spPr>
            <a:xfrm>
              <a:off x="5598244" y="3078087"/>
              <a:ext cx="1524000" cy="1524000"/>
            </a:xfrm>
            <a:prstGeom prst="ellipse">
              <a:avLst/>
            </a:prstGeom>
            <a:solidFill>
              <a:srgbClr val="52C9FF"/>
            </a:solidFill>
            <a:ln w="6350" cap="flat" cmpd="sng" algn="ctr">
              <a:solidFill>
                <a:srgbClr val="52C9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14" name="Vector">
              <a:extLst>
                <a:ext uri="{FF2B5EF4-FFF2-40B4-BE49-F238E27FC236}">
                  <a16:creationId xmlns:a16="http://schemas.microsoft.com/office/drawing/2014/main" id="{BBB13642-E80E-B8A2-1515-503E8CDF3CA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bwMode="gray">
            <a:xfrm>
              <a:off x="5598244" y="3078087"/>
              <a:ext cx="1524000" cy="1524000"/>
            </a:xfrm>
            <a:prstGeom prst="rect">
              <a:avLst/>
            </a:prstGeom>
          </p:spPr>
        </p:pic>
      </p:grpSp>
      <p:grpSp>
        <p:nvGrpSpPr>
          <p:cNvPr id="15" name="easyIcon">
            <a:extLst>
              <a:ext uri="{FF2B5EF4-FFF2-40B4-BE49-F238E27FC236}">
                <a16:creationId xmlns:a16="http://schemas.microsoft.com/office/drawing/2014/main" id="{C0A53E81-237F-7332-B813-E9B2B26F2968}"/>
              </a:ext>
            </a:extLst>
          </p:cNvPr>
          <p:cNvGrpSpPr>
            <a:grpSpLocks noChangeAspect="1"/>
          </p:cNvGrpSpPr>
          <p:nvPr>
            <p:custDataLst>
              <p:tags r:id="rId3"/>
            </p:custDataLst>
          </p:nvPr>
        </p:nvGrpSpPr>
        <p:grpSpPr>
          <a:xfrm>
            <a:off x="527135" y="3847649"/>
            <a:ext cx="720000" cy="720000"/>
            <a:chOff x="575667" y="4284045"/>
            <a:chExt cx="721099" cy="721099"/>
          </a:xfrm>
        </p:grpSpPr>
        <p:sp>
          <p:nvSpPr>
            <p:cNvPr id="16" name="backgroundFixed">
              <a:extLst>
                <a:ext uri="{FF2B5EF4-FFF2-40B4-BE49-F238E27FC236}">
                  <a16:creationId xmlns:a16="http://schemas.microsoft.com/office/drawing/2014/main" id="{ECE01A91-7C9B-F598-21A0-5AAC00FFBEE3}"/>
                </a:ext>
              </a:extLst>
            </p:cNvPr>
            <p:cNvSpPr/>
            <p:nvPr>
              <p:custDataLst>
                <p:tags r:id="rId4"/>
              </p:custDataLst>
            </p:nvPr>
          </p:nvSpPr>
          <p:spPr>
            <a:xfrm>
              <a:off x="575667" y="4284045"/>
              <a:ext cx="721099" cy="721099"/>
            </a:xfrm>
            <a:prstGeom prst="ellipse">
              <a:avLst/>
            </a:prstGeom>
            <a:solidFill>
              <a:srgbClr val="52C9FF"/>
            </a:solidFill>
            <a:ln w="6350" cap="flat" cmpd="sng" algn="ctr">
              <a:solidFill>
                <a:srgbClr val="52C9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17" name="Vector">
              <a:extLst>
                <a:ext uri="{FF2B5EF4-FFF2-40B4-BE49-F238E27FC236}">
                  <a16:creationId xmlns:a16="http://schemas.microsoft.com/office/drawing/2014/main" id="{D51D27C1-D116-75FA-5834-3FA7A539998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bwMode="gray">
            <a:xfrm>
              <a:off x="575667" y="4284045"/>
              <a:ext cx="721099" cy="721099"/>
            </a:xfrm>
            <a:prstGeom prst="rect">
              <a:avLst/>
            </a:prstGeom>
          </p:spPr>
        </p:pic>
      </p:grpSp>
      <p:sp>
        <p:nvSpPr>
          <p:cNvPr id="6" name="Footer Placeholder 2">
            <a:extLst>
              <a:ext uri="{FF2B5EF4-FFF2-40B4-BE49-F238E27FC236}">
                <a16:creationId xmlns:a16="http://schemas.microsoft.com/office/drawing/2014/main" id="{16FDFD61-8A30-A196-D4D5-789926C33E57}"/>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sp>
        <p:nvSpPr>
          <p:cNvPr id="7" name="Rectangle: Rounded Corners 6">
            <a:extLst>
              <a:ext uri="{FF2B5EF4-FFF2-40B4-BE49-F238E27FC236}">
                <a16:creationId xmlns:a16="http://schemas.microsoft.com/office/drawing/2014/main" id="{4F295D28-76C2-5861-0EDD-89CB48EBE85D}"/>
              </a:ext>
            </a:extLst>
          </p:cNvPr>
          <p:cNvSpPr/>
          <p:nvPr/>
        </p:nvSpPr>
        <p:spPr>
          <a:xfrm>
            <a:off x="1007716" y="5316168"/>
            <a:ext cx="9397044" cy="52908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en-US" sz="2000" dirty="0"/>
              <a:t>Enable vulnerability disclosure program and remediate quickly</a:t>
            </a:r>
          </a:p>
        </p:txBody>
      </p:sp>
    </p:spTree>
    <p:extLst>
      <p:ext uri="{BB962C8B-B14F-4D97-AF65-F5344CB8AC3E}">
        <p14:creationId xmlns:p14="http://schemas.microsoft.com/office/powerpoint/2010/main" val="26509156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780852-4501-1F16-56F1-5B51746C2C02}"/>
              </a:ext>
            </a:extLst>
          </p:cNvPr>
          <p:cNvSpPr>
            <a:spLocks noGrp="1"/>
          </p:cNvSpPr>
          <p:nvPr>
            <p:ph type="title"/>
          </p:nvPr>
        </p:nvSpPr>
        <p:spPr/>
        <p:txBody>
          <a:bodyPr/>
          <a:lstStyle/>
          <a:p>
            <a:r>
              <a:rPr lang="en-US" dirty="0"/>
              <a:t>Call to Action</a:t>
            </a:r>
          </a:p>
        </p:txBody>
      </p:sp>
      <p:sp>
        <p:nvSpPr>
          <p:cNvPr id="4" name="Slide Number Placeholder 3">
            <a:extLst>
              <a:ext uri="{FF2B5EF4-FFF2-40B4-BE49-F238E27FC236}">
                <a16:creationId xmlns:a16="http://schemas.microsoft.com/office/drawing/2014/main" id="{7969B0D1-D555-84E5-9AB5-5EECA8351D57}"/>
              </a:ext>
            </a:extLst>
          </p:cNvPr>
          <p:cNvSpPr>
            <a:spLocks noGrp="1"/>
          </p:cNvSpPr>
          <p:nvPr>
            <p:ph type="sldNum" sz="quarter" idx="11"/>
          </p:nvPr>
        </p:nvSpPr>
        <p:spPr/>
        <p:txBody>
          <a:bodyPr/>
          <a:lstStyle/>
          <a:p>
            <a:fld id="{C651C7C4-31E4-E340-822E-DEA0EA75A835}" type="slidenum">
              <a:rPr lang="en-US" smtClean="0"/>
              <a:pPr/>
              <a:t>22</a:t>
            </a:fld>
            <a:endParaRPr lang="en-US" dirty="0"/>
          </a:p>
        </p:txBody>
      </p:sp>
      <p:sp>
        <p:nvSpPr>
          <p:cNvPr id="5" name="Text Placeholder 4">
            <a:extLst>
              <a:ext uri="{FF2B5EF4-FFF2-40B4-BE49-F238E27FC236}">
                <a16:creationId xmlns:a16="http://schemas.microsoft.com/office/drawing/2014/main" id="{724D9F25-3AA6-E202-C0A6-275DE7A1FA65}"/>
              </a:ext>
            </a:extLst>
          </p:cNvPr>
          <p:cNvSpPr>
            <a:spLocks noGrp="1"/>
          </p:cNvSpPr>
          <p:nvPr>
            <p:ph type="body" sz="quarter" idx="12"/>
          </p:nvPr>
        </p:nvSpPr>
        <p:spPr>
          <a:xfrm>
            <a:off x="1727796" y="1295400"/>
            <a:ext cx="8280400" cy="5378845"/>
          </a:xfrm>
        </p:spPr>
        <p:txBody>
          <a:bodyPr/>
          <a:lstStyle/>
          <a:p>
            <a:r>
              <a:rPr lang="en-US" sz="2000" dirty="0"/>
              <a:t>Stay up-to-date on automotive </a:t>
            </a:r>
            <a:r>
              <a:rPr lang="en-US" sz="2000" dirty="0">
                <a:solidFill>
                  <a:schemeClr val="accent4"/>
                </a:solidFill>
              </a:rPr>
              <a:t>risks</a:t>
            </a:r>
            <a:r>
              <a:rPr lang="en-US" sz="2000" dirty="0">
                <a:solidFill>
                  <a:schemeClr val="accent5"/>
                </a:solidFill>
              </a:rPr>
              <a:t> </a:t>
            </a:r>
            <a:r>
              <a:rPr lang="en-US" sz="2000" dirty="0"/>
              <a:t>for the SDV ecosystem</a:t>
            </a:r>
          </a:p>
          <a:p>
            <a:endParaRPr lang="en-US" sz="2000" dirty="0"/>
          </a:p>
          <a:p>
            <a:endParaRPr lang="en-US" sz="2000" dirty="0"/>
          </a:p>
          <a:p>
            <a:r>
              <a:rPr lang="en-US" sz="2000" dirty="0"/>
              <a:t>Get ready for </a:t>
            </a:r>
            <a:r>
              <a:rPr lang="en-US" sz="2000" dirty="0">
                <a:solidFill>
                  <a:schemeClr val="accent4"/>
                </a:solidFill>
              </a:rPr>
              <a:t>PQC</a:t>
            </a:r>
          </a:p>
          <a:p>
            <a:endParaRPr lang="en-US" sz="2000" dirty="0"/>
          </a:p>
          <a:p>
            <a:endParaRPr lang="en-US" sz="2000" dirty="0"/>
          </a:p>
          <a:p>
            <a:r>
              <a:rPr lang="en-US" sz="2000" dirty="0"/>
              <a:t>Apply best practices for </a:t>
            </a:r>
            <a:r>
              <a:rPr lang="en-US" sz="2000" dirty="0">
                <a:solidFill>
                  <a:schemeClr val="accent4"/>
                </a:solidFill>
              </a:rPr>
              <a:t>secure end-to-end development</a:t>
            </a:r>
            <a:r>
              <a:rPr lang="en-US" sz="2000" dirty="0"/>
              <a:t> lifecycle</a:t>
            </a:r>
          </a:p>
          <a:p>
            <a:pPr lvl="1"/>
            <a:r>
              <a:rPr lang="en-US" sz="1800" dirty="0"/>
              <a:t>Secure design and development</a:t>
            </a:r>
          </a:p>
          <a:p>
            <a:pPr lvl="1"/>
            <a:r>
              <a:rPr lang="en-US" sz="1800" dirty="0"/>
              <a:t>Security testing</a:t>
            </a:r>
          </a:p>
          <a:p>
            <a:pPr lvl="1"/>
            <a:r>
              <a:rPr lang="en-US" sz="1800" dirty="0"/>
              <a:t>Software updates/patches</a:t>
            </a:r>
          </a:p>
          <a:p>
            <a:endParaRPr lang="en-US" sz="2000" dirty="0">
              <a:solidFill>
                <a:schemeClr val="accent5"/>
              </a:solidFill>
            </a:endParaRPr>
          </a:p>
          <a:p>
            <a:endParaRPr lang="en-US" sz="2000" dirty="0"/>
          </a:p>
        </p:txBody>
      </p:sp>
      <p:grpSp>
        <p:nvGrpSpPr>
          <p:cNvPr id="15" name="easyIcon">
            <a:extLst>
              <a:ext uri="{FF2B5EF4-FFF2-40B4-BE49-F238E27FC236}">
                <a16:creationId xmlns:a16="http://schemas.microsoft.com/office/drawing/2014/main" id="{B21C922E-241E-871F-4DCC-6056384040B4}"/>
              </a:ext>
            </a:extLst>
          </p:cNvPr>
          <p:cNvGrpSpPr>
            <a:grpSpLocks noChangeAspect="1"/>
          </p:cNvGrpSpPr>
          <p:nvPr>
            <p:custDataLst>
              <p:tags r:id="rId1"/>
            </p:custDataLst>
          </p:nvPr>
        </p:nvGrpSpPr>
        <p:grpSpPr>
          <a:xfrm>
            <a:off x="579868" y="2501557"/>
            <a:ext cx="751884" cy="751884"/>
            <a:chOff x="4863815" y="1150755"/>
            <a:chExt cx="721099" cy="721099"/>
          </a:xfrm>
        </p:grpSpPr>
        <p:sp>
          <p:nvSpPr>
            <p:cNvPr id="16" name="backgroundFixed">
              <a:extLst>
                <a:ext uri="{FF2B5EF4-FFF2-40B4-BE49-F238E27FC236}">
                  <a16:creationId xmlns:a16="http://schemas.microsoft.com/office/drawing/2014/main" id="{B9A94C88-CBC6-688A-31F3-C03E01F45DD2}"/>
                </a:ext>
              </a:extLst>
            </p:cNvPr>
            <p:cNvSpPr/>
            <p:nvPr>
              <p:custDataLst>
                <p:tags r:id="rId6"/>
              </p:custDataLst>
            </p:nvPr>
          </p:nvSpPr>
          <p:spPr>
            <a:xfrm>
              <a:off x="4863815" y="1150755"/>
              <a:ext cx="721099" cy="721099"/>
            </a:xfrm>
            <a:prstGeom prst="ellipse">
              <a:avLst/>
            </a:prstGeom>
            <a:solidFill>
              <a:srgbClr val="A200E6"/>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17" name="Vector">
              <a:extLst>
                <a:ext uri="{FF2B5EF4-FFF2-40B4-BE49-F238E27FC236}">
                  <a16:creationId xmlns:a16="http://schemas.microsoft.com/office/drawing/2014/main" id="{90366635-27FA-7C5E-3FCC-16A2EE5C6D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bwMode="gray">
            <a:xfrm>
              <a:off x="4863815" y="1150755"/>
              <a:ext cx="721099" cy="721099"/>
            </a:xfrm>
            <a:prstGeom prst="rect">
              <a:avLst/>
            </a:prstGeom>
          </p:spPr>
        </p:pic>
      </p:grpSp>
      <p:grpSp>
        <p:nvGrpSpPr>
          <p:cNvPr id="27" name="easyIcon">
            <a:extLst>
              <a:ext uri="{FF2B5EF4-FFF2-40B4-BE49-F238E27FC236}">
                <a16:creationId xmlns:a16="http://schemas.microsoft.com/office/drawing/2014/main" id="{FE162FBE-A53C-B270-4D85-58ED45D3B115}"/>
              </a:ext>
            </a:extLst>
          </p:cNvPr>
          <p:cNvGrpSpPr>
            <a:grpSpLocks noChangeAspect="1"/>
          </p:cNvGrpSpPr>
          <p:nvPr>
            <p:custDataLst>
              <p:tags r:id="rId2"/>
            </p:custDataLst>
          </p:nvPr>
        </p:nvGrpSpPr>
        <p:grpSpPr>
          <a:xfrm>
            <a:off x="579868" y="3874709"/>
            <a:ext cx="751884" cy="751884"/>
            <a:chOff x="8028234" y="1224510"/>
            <a:chExt cx="720000" cy="720000"/>
          </a:xfrm>
        </p:grpSpPr>
        <p:sp>
          <p:nvSpPr>
            <p:cNvPr id="28" name="backgroundFixed">
              <a:extLst>
                <a:ext uri="{FF2B5EF4-FFF2-40B4-BE49-F238E27FC236}">
                  <a16:creationId xmlns:a16="http://schemas.microsoft.com/office/drawing/2014/main" id="{7D9CFD2B-82A9-96F7-04FE-40680634FAE8}"/>
                </a:ext>
              </a:extLst>
            </p:cNvPr>
            <p:cNvSpPr/>
            <p:nvPr>
              <p:custDataLst>
                <p:tags r:id="rId5"/>
              </p:custDataLst>
            </p:nvPr>
          </p:nvSpPr>
          <p:spPr>
            <a:xfrm>
              <a:off x="8028234" y="1224510"/>
              <a:ext cx="720000" cy="720000"/>
            </a:xfrm>
            <a:prstGeom prst="ellipse">
              <a:avLst/>
            </a:prstGeom>
            <a:solidFill>
              <a:srgbClr val="A200E6"/>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29" name="Vector">
              <a:extLst>
                <a:ext uri="{FF2B5EF4-FFF2-40B4-BE49-F238E27FC236}">
                  <a16:creationId xmlns:a16="http://schemas.microsoft.com/office/drawing/2014/main" id="{25C41ADD-051C-A854-3E5B-E75B27CA10B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bwMode="gray">
            <a:xfrm>
              <a:off x="8028234" y="1224510"/>
              <a:ext cx="720000" cy="720000"/>
            </a:xfrm>
            <a:prstGeom prst="rect">
              <a:avLst/>
            </a:prstGeom>
          </p:spPr>
        </p:pic>
      </p:grpSp>
      <p:grpSp>
        <p:nvGrpSpPr>
          <p:cNvPr id="33" name="easyIcon">
            <a:extLst>
              <a:ext uri="{FF2B5EF4-FFF2-40B4-BE49-F238E27FC236}">
                <a16:creationId xmlns:a16="http://schemas.microsoft.com/office/drawing/2014/main" id="{B92CCE94-8F74-2C68-D175-1197B7E2C306}"/>
              </a:ext>
            </a:extLst>
          </p:cNvPr>
          <p:cNvGrpSpPr>
            <a:grpSpLocks noChangeAspect="1"/>
          </p:cNvGrpSpPr>
          <p:nvPr>
            <p:custDataLst>
              <p:tags r:id="rId3"/>
            </p:custDataLst>
          </p:nvPr>
        </p:nvGrpSpPr>
        <p:grpSpPr>
          <a:xfrm>
            <a:off x="579868" y="1088769"/>
            <a:ext cx="751884" cy="751884"/>
            <a:chOff x="7920234" y="5137589"/>
            <a:chExt cx="900000" cy="900000"/>
          </a:xfrm>
        </p:grpSpPr>
        <p:sp>
          <p:nvSpPr>
            <p:cNvPr id="34" name="backgroundFixed">
              <a:extLst>
                <a:ext uri="{FF2B5EF4-FFF2-40B4-BE49-F238E27FC236}">
                  <a16:creationId xmlns:a16="http://schemas.microsoft.com/office/drawing/2014/main" id="{224A65BD-11F7-3DAC-0345-DC59C3D6BBE1}"/>
                </a:ext>
              </a:extLst>
            </p:cNvPr>
            <p:cNvSpPr/>
            <p:nvPr>
              <p:custDataLst>
                <p:tags r:id="rId4"/>
              </p:custDataLst>
            </p:nvPr>
          </p:nvSpPr>
          <p:spPr>
            <a:xfrm>
              <a:off x="7920234" y="5137589"/>
              <a:ext cx="900000" cy="900000"/>
            </a:xfrm>
            <a:prstGeom prst="ellipse">
              <a:avLst/>
            </a:prstGeom>
            <a:solidFill>
              <a:srgbClr val="A200E6"/>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35" name="Vector">
              <a:extLst>
                <a:ext uri="{FF2B5EF4-FFF2-40B4-BE49-F238E27FC236}">
                  <a16:creationId xmlns:a16="http://schemas.microsoft.com/office/drawing/2014/main" id="{58D0AB68-D356-E914-F5C9-023AA4132D6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bwMode="gray">
            <a:xfrm>
              <a:off x="7920234" y="5137589"/>
              <a:ext cx="900000" cy="900000"/>
            </a:xfrm>
            <a:prstGeom prst="rect">
              <a:avLst/>
            </a:prstGeom>
          </p:spPr>
        </p:pic>
      </p:grpSp>
      <p:sp>
        <p:nvSpPr>
          <p:cNvPr id="47" name="TextBox 46">
            <a:extLst>
              <a:ext uri="{FF2B5EF4-FFF2-40B4-BE49-F238E27FC236}">
                <a16:creationId xmlns:a16="http://schemas.microsoft.com/office/drawing/2014/main" id="{F834F997-D023-87FA-A7EB-921D03079EBE}"/>
              </a:ext>
            </a:extLst>
          </p:cNvPr>
          <p:cNvSpPr txBox="1"/>
          <p:nvPr/>
        </p:nvSpPr>
        <p:spPr>
          <a:xfrm>
            <a:off x="9449743" y="-21448"/>
            <a:ext cx="3061990" cy="352341"/>
          </a:xfrm>
          <a:prstGeom prst="rect">
            <a:avLst/>
          </a:prstGeom>
          <a:noFill/>
        </p:spPr>
        <p:txBody>
          <a:bodyPr wrap="square" lIns="0" tIns="0" rIns="0" bIns="0" numCol="1" rtlCol="0">
            <a:spAutoFit/>
          </a:bodyPr>
          <a:lstStyle/>
          <a:p>
            <a:pPr>
              <a:lnSpc>
                <a:spcPct val="120000"/>
              </a:lnSpc>
            </a:pPr>
            <a:r>
              <a:rPr lang="en-US" sz="1000" dirty="0"/>
              <a:t>SDV: Software-Defined Vehicle</a:t>
            </a:r>
          </a:p>
          <a:p>
            <a:pPr>
              <a:lnSpc>
                <a:spcPct val="120000"/>
              </a:lnSpc>
            </a:pPr>
            <a:r>
              <a:rPr lang="en-US" sz="1000" dirty="0"/>
              <a:t>PQC: Post-Quantum Cryptography </a:t>
            </a:r>
          </a:p>
        </p:txBody>
      </p:sp>
      <p:sp>
        <p:nvSpPr>
          <p:cNvPr id="48" name="Footer Placeholder 2">
            <a:extLst>
              <a:ext uri="{FF2B5EF4-FFF2-40B4-BE49-F238E27FC236}">
                <a16:creationId xmlns:a16="http://schemas.microsoft.com/office/drawing/2014/main" id="{E316891C-8009-BFFB-274B-1CAB35A1E8AF}"/>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spTree>
    <p:extLst>
      <p:ext uri="{BB962C8B-B14F-4D97-AF65-F5344CB8AC3E}">
        <p14:creationId xmlns:p14="http://schemas.microsoft.com/office/powerpoint/2010/main" val="10276608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BA34493-D988-4172-8503-5C21DA187631}"/>
              </a:ext>
            </a:extLst>
          </p:cNvPr>
          <p:cNvSpPr>
            <a:spLocks noGrp="1"/>
          </p:cNvSpPr>
          <p:nvPr>
            <p:ph type="title"/>
            <p:custDataLst>
              <p:tags r:id="rId2"/>
            </p:custDataLst>
          </p:nvPr>
        </p:nvSpPr>
        <p:spPr/>
        <p:txBody>
          <a:bodyPr/>
          <a:lstStyle/>
          <a:p>
            <a:r>
              <a:rPr lang="en-US"/>
              <a:t>Contact</a:t>
            </a:r>
            <a:endParaRPr lang="en-US" dirty="0"/>
          </a:p>
        </p:txBody>
      </p:sp>
      <p:sp>
        <p:nvSpPr>
          <p:cNvPr id="2" name="Fußzeilenplatzhalter 1">
            <a:extLst>
              <a:ext uri="{FF2B5EF4-FFF2-40B4-BE49-F238E27FC236}">
                <a16:creationId xmlns:a16="http://schemas.microsoft.com/office/drawing/2014/main" id="{1A92AC00-1458-4355-9315-DE22D06396AF}"/>
              </a:ext>
            </a:extLst>
          </p:cNvPr>
          <p:cNvSpPr>
            <a:spLocks noGrp="1"/>
          </p:cNvSpPr>
          <p:nvPr>
            <p:ph type="ftr" sz="quarter" idx="3"/>
          </p:nvPr>
        </p:nvSpPr>
        <p:spPr/>
        <p:txBody>
          <a:bodyPr/>
          <a:lstStyle/>
          <a:p>
            <a:r>
              <a:rPr lang="en-US"/>
              <a:t>IAV  MM/YYYY  Department Code  Initials  Status: draft, confidential</a:t>
            </a:r>
            <a:endParaRPr lang="en-US" dirty="0"/>
          </a:p>
        </p:txBody>
      </p:sp>
      <p:sp>
        <p:nvSpPr>
          <p:cNvPr id="10" name="Foliennummernplatzhalter 9">
            <a:extLst>
              <a:ext uri="{FF2B5EF4-FFF2-40B4-BE49-F238E27FC236}">
                <a16:creationId xmlns:a16="http://schemas.microsoft.com/office/drawing/2014/main" id="{51864CDE-6951-401C-B278-D9B4CBABABC9}"/>
              </a:ext>
            </a:extLst>
          </p:cNvPr>
          <p:cNvSpPr>
            <a:spLocks noGrp="1"/>
          </p:cNvSpPr>
          <p:nvPr>
            <p:ph type="sldNum" sz="quarter" idx="4"/>
          </p:nvPr>
        </p:nvSpPr>
        <p:spPr/>
        <p:txBody>
          <a:bodyPr/>
          <a:lstStyle/>
          <a:p>
            <a:fld id="{C651C7C4-31E4-E340-822E-DEA0EA75A835}" type="slidenum">
              <a:rPr lang="en-US" smtClean="0"/>
              <a:pPr/>
              <a:t>23</a:t>
            </a:fld>
            <a:endParaRPr lang="en-US" dirty="0"/>
          </a:p>
        </p:txBody>
      </p:sp>
      <p:sp>
        <p:nvSpPr>
          <p:cNvPr id="7" name="Textplatzhalter 6">
            <a:extLst>
              <a:ext uri="{FF2B5EF4-FFF2-40B4-BE49-F238E27FC236}">
                <a16:creationId xmlns:a16="http://schemas.microsoft.com/office/drawing/2014/main" id="{D10E7627-693E-4577-A6E2-5891B69B95CD}"/>
              </a:ext>
            </a:extLst>
          </p:cNvPr>
          <p:cNvSpPr>
            <a:spLocks noGrp="1"/>
          </p:cNvSpPr>
          <p:nvPr>
            <p:ph type="body" sz="quarter" idx="13"/>
            <p:custDataLst>
              <p:tags r:id="rId3"/>
            </p:custDataLst>
          </p:nvPr>
        </p:nvSpPr>
        <p:spPr>
          <a:xfrm>
            <a:off x="539750" y="3960813"/>
            <a:ext cx="8280400" cy="1527406"/>
          </a:xfrm>
        </p:spPr>
        <p:txBody>
          <a:bodyPr/>
          <a:lstStyle/>
          <a:p>
            <a:r>
              <a:rPr lang="de-DE" dirty="0"/>
              <a:t>Dr. Dennis Kengo Oka </a:t>
            </a:r>
            <a:endParaRPr lang="de-DE" dirty="0">
              <a:latin typeface="游ゴシック Medium" panose="020B0500000000000000" pitchFamily="50" charset="-128"/>
              <a:ea typeface="游ゴシック Medium" panose="020B0500000000000000" pitchFamily="50" charset="-128"/>
            </a:endParaRPr>
          </a:p>
          <a:p>
            <a:r>
              <a:rPr lang="de-DE" dirty="0"/>
              <a:t>IAV Co., Ltd. </a:t>
            </a:r>
          </a:p>
          <a:p>
            <a:r>
              <a:rPr lang="de-DE" dirty="0">
                <a:hlinkClick r:id="rId6"/>
              </a:rPr>
              <a:t>dennis.kengo.oka@iav.jp</a:t>
            </a:r>
            <a:r>
              <a:rPr lang="de-DE" dirty="0"/>
              <a:t> </a:t>
            </a:r>
          </a:p>
          <a:p>
            <a:r>
              <a:rPr lang="de-DE" dirty="0"/>
              <a:t>www.iav.com</a:t>
            </a:r>
          </a:p>
          <a:p>
            <a:endParaRPr lang="en-US" dirty="0"/>
          </a:p>
          <a:p>
            <a:endParaRPr lang="en-US" dirty="0"/>
          </a:p>
        </p:txBody>
      </p:sp>
    </p:spTree>
    <p:custDataLst>
      <p:tags r:id="rId1"/>
    </p:custDataLst>
    <p:extLst>
      <p:ext uri="{BB962C8B-B14F-4D97-AF65-F5344CB8AC3E}">
        <p14:creationId xmlns:p14="http://schemas.microsoft.com/office/powerpoint/2010/main" val="13991019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0750A73-FDEC-4A78-A501-53D5BE0CA08C}"/>
              </a:ext>
            </a:extLst>
          </p:cNvPr>
          <p:cNvSpPr>
            <a:spLocks noGrp="1"/>
          </p:cNvSpPr>
          <p:nvPr>
            <p:ph type="title"/>
          </p:nvPr>
        </p:nvSpPr>
        <p:spPr>
          <a:xfrm>
            <a:off x="6840538" y="1295400"/>
            <a:ext cx="4140200" cy="403745"/>
          </a:xfrm>
        </p:spPr>
        <p:txBody>
          <a:bodyPr/>
          <a:lstStyle/>
          <a:p>
            <a:r>
              <a:rPr lang="en-US" dirty="0"/>
              <a:t>Dr. Dennis Kengo Oka</a:t>
            </a:r>
          </a:p>
        </p:txBody>
      </p:sp>
      <p:sp>
        <p:nvSpPr>
          <p:cNvPr id="2" name="Fußzeilenplatzhalter 1">
            <a:extLst>
              <a:ext uri="{FF2B5EF4-FFF2-40B4-BE49-F238E27FC236}">
                <a16:creationId xmlns:a16="http://schemas.microsoft.com/office/drawing/2014/main" id="{7054490E-C206-42A8-A4EE-672A868A9F51}"/>
              </a:ext>
            </a:extLst>
          </p:cNvPr>
          <p:cNvSpPr>
            <a:spLocks noGrp="1"/>
          </p:cNvSpPr>
          <p:nvPr>
            <p:ph type="ftr" sz="quarter" idx="3"/>
          </p:nvPr>
        </p:nvSpPr>
        <p:spPr/>
        <p:txBody>
          <a:bodyPr/>
          <a:lstStyle/>
          <a:p>
            <a:r>
              <a:rPr lang="en-US"/>
              <a:t>IAV  MM/YYYY  Department Code  Initials  Status: draft, confidential</a:t>
            </a:r>
            <a:endParaRPr lang="en-US" dirty="0"/>
          </a:p>
        </p:txBody>
      </p:sp>
      <p:sp>
        <p:nvSpPr>
          <p:cNvPr id="6" name="Foliennummernplatzhalter 5">
            <a:extLst>
              <a:ext uri="{FF2B5EF4-FFF2-40B4-BE49-F238E27FC236}">
                <a16:creationId xmlns:a16="http://schemas.microsoft.com/office/drawing/2014/main" id="{34777B78-1BE6-449D-96D3-3FB38AACD2CA}"/>
              </a:ext>
            </a:extLst>
          </p:cNvPr>
          <p:cNvSpPr>
            <a:spLocks noGrp="1"/>
          </p:cNvSpPr>
          <p:nvPr>
            <p:ph type="sldNum" sz="quarter" idx="4"/>
          </p:nvPr>
        </p:nvSpPr>
        <p:spPr/>
        <p:txBody>
          <a:bodyPr/>
          <a:lstStyle/>
          <a:p>
            <a:fld id="{C651C7C4-31E4-E340-822E-DEA0EA75A835}" type="slidenum">
              <a:rPr lang="en-US" smtClean="0"/>
              <a:pPr/>
              <a:t>3</a:t>
            </a:fld>
            <a:endParaRPr lang="en-US" dirty="0"/>
          </a:p>
        </p:txBody>
      </p:sp>
      <p:sp>
        <p:nvSpPr>
          <p:cNvPr id="3" name="Text Placeholder 2">
            <a:extLst>
              <a:ext uri="{FF2B5EF4-FFF2-40B4-BE49-F238E27FC236}">
                <a16:creationId xmlns:a16="http://schemas.microsoft.com/office/drawing/2014/main" id="{6E997B36-CAE2-8E25-D9B8-845D7ED1ED45}"/>
              </a:ext>
            </a:extLst>
          </p:cNvPr>
          <p:cNvSpPr>
            <a:spLocks noGrp="1"/>
          </p:cNvSpPr>
          <p:nvPr>
            <p:ph type="body" sz="quarter" idx="12"/>
          </p:nvPr>
        </p:nvSpPr>
        <p:spPr>
          <a:xfrm>
            <a:off x="6840538" y="1879165"/>
            <a:ext cx="3960812" cy="2093715"/>
          </a:xfrm>
        </p:spPr>
        <p:txBody>
          <a:bodyPr/>
          <a:lstStyle/>
          <a:p>
            <a:pPr marL="180000" lvl="2">
              <a:buClrTx/>
            </a:pPr>
            <a:r>
              <a:rPr kumimoji="1" lang="en-US" sz="1400" b="0" dirty="0">
                <a:solidFill>
                  <a:srgbClr val="001A54"/>
                </a:solidFill>
                <a:latin typeface="+mn-lt"/>
                <a:ea typeface="MS PGothic" panose="020B0600070205080204" pitchFamily="34" charset="-128"/>
              </a:rPr>
              <a:t>Started working on automotive security in 2006</a:t>
            </a:r>
            <a:endParaRPr kumimoji="1" lang="en-US" sz="1400" dirty="0">
              <a:solidFill>
                <a:srgbClr val="001A54"/>
              </a:solidFill>
              <a:ea typeface="MS PGothic" panose="020B0600070205080204" pitchFamily="34" charset="-128"/>
            </a:endParaRPr>
          </a:p>
          <a:p>
            <a:pPr marL="180000" lvl="2">
              <a:buClrTx/>
            </a:pPr>
            <a:r>
              <a:rPr lang="en-US" altLang="ja-JP" sz="1400" b="0" dirty="0">
                <a:solidFill>
                  <a:srgbClr val="001A54"/>
                </a:solidFill>
                <a:latin typeface="+mn-lt"/>
                <a:ea typeface="MS PGothic" panose="020B0600070205080204" pitchFamily="34" charset="-128"/>
              </a:rPr>
              <a:t>Involved in standardization and best practices activities</a:t>
            </a:r>
          </a:p>
          <a:p>
            <a:pPr marL="180000" lvl="2">
              <a:buClrTx/>
            </a:pPr>
            <a:r>
              <a:rPr kumimoji="1" lang="en-US" sz="1400" b="0" dirty="0">
                <a:solidFill>
                  <a:srgbClr val="001A54"/>
                </a:solidFill>
                <a:latin typeface="+mn-lt"/>
                <a:ea typeface="MS PGothic" panose="020B0600070205080204" pitchFamily="34" charset="-128"/>
              </a:rPr>
              <a:t>70+ publications and presentations at events</a:t>
            </a:r>
            <a:endParaRPr lang="en-US" sz="1400" dirty="0">
              <a:solidFill>
                <a:srgbClr val="001A54"/>
              </a:solidFill>
            </a:endParaRPr>
          </a:p>
          <a:p>
            <a:pPr marL="180000" lvl="2">
              <a:buClrTx/>
            </a:pPr>
            <a:r>
              <a:rPr lang="en-US" sz="1400" dirty="0">
                <a:solidFill>
                  <a:srgbClr val="001A54"/>
                </a:solidFill>
              </a:rPr>
              <a:t>Global Technical &amp; Cybersecurity Advisor</a:t>
            </a:r>
          </a:p>
          <a:p>
            <a:endParaRPr lang="en-US" dirty="0"/>
          </a:p>
          <a:p>
            <a:endParaRPr lang="en-US" dirty="0"/>
          </a:p>
        </p:txBody>
      </p:sp>
      <p:sp>
        <p:nvSpPr>
          <p:cNvPr id="17" name="Speech Bubble: Rectangle with Corners Rounded 16">
            <a:extLst>
              <a:ext uri="{FF2B5EF4-FFF2-40B4-BE49-F238E27FC236}">
                <a16:creationId xmlns:a16="http://schemas.microsoft.com/office/drawing/2014/main" id="{2023AF66-6816-0233-775A-597065496506}"/>
              </a:ext>
            </a:extLst>
          </p:cNvPr>
          <p:cNvSpPr/>
          <p:nvPr/>
        </p:nvSpPr>
        <p:spPr>
          <a:xfrm>
            <a:off x="143620" y="5554128"/>
            <a:ext cx="9181020" cy="763487"/>
          </a:xfrm>
          <a:prstGeom prst="wedgeRoundRectCallout">
            <a:avLst>
              <a:gd name="adj1" fmla="val 31262"/>
              <a:gd name="adj2" fmla="val -68391"/>
              <a:gd name="adj3" fmla="val 16667"/>
            </a:avLst>
          </a:prstGeom>
          <a:solidFill>
            <a:srgbClr val="0070C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7" dirty="0"/>
              <a:t>Author of books: “</a:t>
            </a:r>
            <a:r>
              <a:rPr lang="en-US" sz="1607" i="1" dirty="0"/>
              <a:t>Building Secure Cars: Assuring the Automotive Software Development Lifecycle” and “</a:t>
            </a:r>
            <a:r>
              <a:rPr lang="en-US" sz="1600" i="1" dirty="0"/>
              <a:t>Building Secure Automotive IoT Applications: Developing Robust IoT Solutions for Next-Gen Automotive Software”</a:t>
            </a:r>
            <a:endParaRPr lang="en-US" sz="1607" i="1" dirty="0"/>
          </a:p>
        </p:txBody>
      </p:sp>
      <p:pic>
        <p:nvPicPr>
          <p:cNvPr id="18" name="Picture 17">
            <a:extLst>
              <a:ext uri="{FF2B5EF4-FFF2-40B4-BE49-F238E27FC236}">
                <a16:creationId xmlns:a16="http://schemas.microsoft.com/office/drawing/2014/main" id="{CFE0AC92-D0BD-F15E-B8A8-D4E894509C4C}"/>
              </a:ext>
            </a:extLst>
          </p:cNvPr>
          <p:cNvPicPr>
            <a:picLocks noChangeAspect="1"/>
          </p:cNvPicPr>
          <p:nvPr/>
        </p:nvPicPr>
        <p:blipFill>
          <a:blip r:embed="rId3"/>
          <a:stretch>
            <a:fillRect/>
          </a:stretch>
        </p:blipFill>
        <p:spPr>
          <a:xfrm>
            <a:off x="6825928" y="3673215"/>
            <a:ext cx="1027574" cy="1489158"/>
          </a:xfrm>
          <a:prstGeom prst="rect">
            <a:avLst/>
          </a:prstGeom>
        </p:spPr>
      </p:pic>
      <p:pic>
        <p:nvPicPr>
          <p:cNvPr id="19" name="Picture 18">
            <a:extLst>
              <a:ext uri="{FF2B5EF4-FFF2-40B4-BE49-F238E27FC236}">
                <a16:creationId xmlns:a16="http://schemas.microsoft.com/office/drawing/2014/main" id="{05234990-CA6A-70E9-6DC0-FFB01923FA20}"/>
              </a:ext>
            </a:extLst>
          </p:cNvPr>
          <p:cNvPicPr>
            <a:picLocks noChangeAspect="1"/>
          </p:cNvPicPr>
          <p:nvPr/>
        </p:nvPicPr>
        <p:blipFill>
          <a:blip r:embed="rId4"/>
          <a:stretch>
            <a:fillRect/>
          </a:stretch>
        </p:blipFill>
        <p:spPr>
          <a:xfrm>
            <a:off x="7999535" y="3673215"/>
            <a:ext cx="1208033" cy="1489738"/>
          </a:xfrm>
          <a:prstGeom prst="rect">
            <a:avLst/>
          </a:prstGeom>
        </p:spPr>
      </p:pic>
      <p:pic>
        <p:nvPicPr>
          <p:cNvPr id="23" name="Picture Placeholder 22">
            <a:extLst>
              <a:ext uri="{FF2B5EF4-FFF2-40B4-BE49-F238E27FC236}">
                <a16:creationId xmlns:a16="http://schemas.microsoft.com/office/drawing/2014/main" id="{5EAB2584-D1A5-F0B5-5E90-926C925FEED1}"/>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l="11947" t="3038" r="10391" b="42048"/>
          <a:stretch/>
        </p:blipFill>
        <p:spPr>
          <a:xfrm>
            <a:off x="849691" y="611351"/>
            <a:ext cx="4536750" cy="453674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8519904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67BDB-19A0-285A-0F66-944185ACFA9F}"/>
              </a:ext>
            </a:extLst>
          </p:cNvPr>
          <p:cNvSpPr>
            <a:spLocks noGrp="1"/>
          </p:cNvSpPr>
          <p:nvPr>
            <p:ph type="title"/>
          </p:nvPr>
        </p:nvSpPr>
        <p:spPr/>
        <p:txBody>
          <a:bodyPr/>
          <a:lstStyle/>
          <a:p>
            <a:r>
              <a:rPr lang="en-US" dirty="0"/>
              <a:t>Agenda</a:t>
            </a:r>
          </a:p>
        </p:txBody>
      </p:sp>
      <p:sp>
        <p:nvSpPr>
          <p:cNvPr id="4" name="Slide Number Placeholder 3">
            <a:extLst>
              <a:ext uri="{FF2B5EF4-FFF2-40B4-BE49-F238E27FC236}">
                <a16:creationId xmlns:a16="http://schemas.microsoft.com/office/drawing/2014/main" id="{8692D6E5-1F4F-3463-E7DC-DEBCFBEA8887}"/>
              </a:ext>
            </a:extLst>
          </p:cNvPr>
          <p:cNvSpPr>
            <a:spLocks noGrp="1"/>
          </p:cNvSpPr>
          <p:nvPr>
            <p:ph type="sldNum" sz="quarter" idx="11"/>
          </p:nvPr>
        </p:nvSpPr>
        <p:spPr/>
        <p:txBody>
          <a:bodyPr/>
          <a:lstStyle/>
          <a:p>
            <a:fld id="{DD6C52D8-AF7F-4297-9A35-2617B7FF1801}" type="slidenum">
              <a:rPr lang="en-US" smtClean="0"/>
              <a:pPr/>
              <a:t>4</a:t>
            </a:fld>
            <a:endParaRPr lang="en-US" dirty="0"/>
          </a:p>
        </p:txBody>
      </p:sp>
      <p:graphicFrame>
        <p:nvGraphicFramePr>
          <p:cNvPr id="5" name="Diagram 4">
            <a:extLst>
              <a:ext uri="{FF2B5EF4-FFF2-40B4-BE49-F238E27FC236}">
                <a16:creationId xmlns:a16="http://schemas.microsoft.com/office/drawing/2014/main" id="{0223F6E1-9A19-1AD4-E23A-F4AD49E1E58E}"/>
              </a:ext>
            </a:extLst>
          </p:cNvPr>
          <p:cNvGraphicFramePr/>
          <p:nvPr>
            <p:extLst>
              <p:ext uri="{D42A27DB-BD31-4B8C-83A1-F6EECF244321}">
                <p14:modId xmlns:p14="http://schemas.microsoft.com/office/powerpoint/2010/main" val="2394701706"/>
              </p:ext>
            </p:extLst>
          </p:nvPr>
        </p:nvGraphicFramePr>
        <p:xfrm>
          <a:off x="1920081" y="679979"/>
          <a:ext cx="7680325" cy="51202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Footer Placeholder 2">
            <a:extLst>
              <a:ext uri="{FF2B5EF4-FFF2-40B4-BE49-F238E27FC236}">
                <a16:creationId xmlns:a16="http://schemas.microsoft.com/office/drawing/2014/main" id="{453869D5-556E-60D5-2C18-DC50A699CA1E}"/>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spTree>
    <p:extLst>
      <p:ext uri="{BB962C8B-B14F-4D97-AF65-F5344CB8AC3E}">
        <p14:creationId xmlns:p14="http://schemas.microsoft.com/office/powerpoint/2010/main" val="15092539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B4A023-A5C6-CE61-5F15-B3F3D45841D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E24BB8A-5B94-E92F-9439-569E4A387DC2}"/>
              </a:ext>
            </a:extLst>
          </p:cNvPr>
          <p:cNvSpPr>
            <a:spLocks noGrp="1"/>
          </p:cNvSpPr>
          <p:nvPr>
            <p:ph type="title"/>
          </p:nvPr>
        </p:nvSpPr>
        <p:spPr/>
        <p:txBody>
          <a:bodyPr/>
          <a:lstStyle/>
          <a:p>
            <a:r>
              <a:rPr lang="en-US" dirty="0"/>
              <a:t>Agenda</a:t>
            </a:r>
          </a:p>
        </p:txBody>
      </p:sp>
      <p:sp>
        <p:nvSpPr>
          <p:cNvPr id="4" name="Slide Number Placeholder 3">
            <a:extLst>
              <a:ext uri="{FF2B5EF4-FFF2-40B4-BE49-F238E27FC236}">
                <a16:creationId xmlns:a16="http://schemas.microsoft.com/office/drawing/2014/main" id="{6ACA2CAF-346F-83ED-49EE-F3E6DEA93571}"/>
              </a:ext>
            </a:extLst>
          </p:cNvPr>
          <p:cNvSpPr>
            <a:spLocks noGrp="1"/>
          </p:cNvSpPr>
          <p:nvPr>
            <p:ph type="sldNum" sz="quarter" idx="11"/>
          </p:nvPr>
        </p:nvSpPr>
        <p:spPr/>
        <p:txBody>
          <a:bodyPr/>
          <a:lstStyle/>
          <a:p>
            <a:fld id="{DD6C52D8-AF7F-4297-9A35-2617B7FF1801}" type="slidenum">
              <a:rPr lang="en-US" smtClean="0"/>
              <a:pPr/>
              <a:t>5</a:t>
            </a:fld>
            <a:endParaRPr lang="en-US" dirty="0"/>
          </a:p>
        </p:txBody>
      </p:sp>
      <p:graphicFrame>
        <p:nvGraphicFramePr>
          <p:cNvPr id="5" name="Diagram 4">
            <a:extLst>
              <a:ext uri="{FF2B5EF4-FFF2-40B4-BE49-F238E27FC236}">
                <a16:creationId xmlns:a16="http://schemas.microsoft.com/office/drawing/2014/main" id="{308ADF5E-F111-E2CC-A3B7-D78DED63B97F}"/>
              </a:ext>
            </a:extLst>
          </p:cNvPr>
          <p:cNvGraphicFramePr/>
          <p:nvPr>
            <p:extLst>
              <p:ext uri="{D42A27DB-BD31-4B8C-83A1-F6EECF244321}">
                <p14:modId xmlns:p14="http://schemas.microsoft.com/office/powerpoint/2010/main" val="1097223540"/>
              </p:ext>
            </p:extLst>
          </p:nvPr>
        </p:nvGraphicFramePr>
        <p:xfrm>
          <a:off x="1920081" y="679979"/>
          <a:ext cx="7680325" cy="51202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Footer Placeholder 2">
            <a:extLst>
              <a:ext uri="{FF2B5EF4-FFF2-40B4-BE49-F238E27FC236}">
                <a16:creationId xmlns:a16="http://schemas.microsoft.com/office/drawing/2014/main" id="{41165769-9A1E-9C46-DE33-856854FABF17}"/>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spTree>
    <p:extLst>
      <p:ext uri="{BB962C8B-B14F-4D97-AF65-F5344CB8AC3E}">
        <p14:creationId xmlns:p14="http://schemas.microsoft.com/office/powerpoint/2010/main" val="14346859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5C0B88-E1AC-92E0-61E1-7AB132E68C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EAFB28-FCEB-C951-A95B-BB7DAAC57887}"/>
              </a:ext>
            </a:extLst>
          </p:cNvPr>
          <p:cNvSpPr>
            <a:spLocks noGrp="1"/>
          </p:cNvSpPr>
          <p:nvPr>
            <p:ph type="title"/>
          </p:nvPr>
        </p:nvSpPr>
        <p:spPr/>
        <p:txBody>
          <a:bodyPr/>
          <a:lstStyle/>
          <a:p>
            <a:r>
              <a:rPr lang="en-US" dirty="0"/>
              <a:t>Overview of Automotive Threats in 2024</a:t>
            </a:r>
          </a:p>
        </p:txBody>
      </p:sp>
      <p:sp>
        <p:nvSpPr>
          <p:cNvPr id="4" name="Slide Number Placeholder 3">
            <a:extLst>
              <a:ext uri="{FF2B5EF4-FFF2-40B4-BE49-F238E27FC236}">
                <a16:creationId xmlns:a16="http://schemas.microsoft.com/office/drawing/2014/main" id="{63F58F3C-DE45-2E89-D2E6-78B2028DBBE3}"/>
              </a:ext>
            </a:extLst>
          </p:cNvPr>
          <p:cNvSpPr>
            <a:spLocks noGrp="1"/>
          </p:cNvSpPr>
          <p:nvPr>
            <p:ph type="sldNum" sz="quarter" idx="11"/>
          </p:nvPr>
        </p:nvSpPr>
        <p:spPr/>
        <p:txBody>
          <a:bodyPr/>
          <a:lstStyle/>
          <a:p>
            <a:fld id="{DD6C52D8-AF7F-4297-9A35-2617B7FF1801}" type="slidenum">
              <a:rPr lang="en-US" smtClean="0"/>
              <a:pPr/>
              <a:t>6</a:t>
            </a:fld>
            <a:endParaRPr lang="en-US" dirty="0"/>
          </a:p>
        </p:txBody>
      </p:sp>
      <p:sp>
        <p:nvSpPr>
          <p:cNvPr id="5" name="Rectangle: Rounded Corners 4">
            <a:extLst>
              <a:ext uri="{FF2B5EF4-FFF2-40B4-BE49-F238E27FC236}">
                <a16:creationId xmlns:a16="http://schemas.microsoft.com/office/drawing/2014/main" id="{29E40025-DE49-9A78-AC10-91F5BC17F137}"/>
              </a:ext>
            </a:extLst>
          </p:cNvPr>
          <p:cNvSpPr/>
          <p:nvPr/>
        </p:nvSpPr>
        <p:spPr>
          <a:xfrm>
            <a:off x="1007716" y="5316168"/>
            <a:ext cx="9397044" cy="52908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en-US" sz="2000" dirty="0"/>
              <a:t>Incidents targeting IT systems, IVI systems and ADAS were most prevalent</a:t>
            </a:r>
          </a:p>
        </p:txBody>
      </p:sp>
      <p:sp>
        <p:nvSpPr>
          <p:cNvPr id="6" name="TextBox 5">
            <a:extLst>
              <a:ext uri="{FF2B5EF4-FFF2-40B4-BE49-F238E27FC236}">
                <a16:creationId xmlns:a16="http://schemas.microsoft.com/office/drawing/2014/main" id="{C1896686-F0E3-6FC9-B3D7-CF63DC17C6D8}"/>
              </a:ext>
            </a:extLst>
          </p:cNvPr>
          <p:cNvSpPr txBox="1"/>
          <p:nvPr/>
        </p:nvSpPr>
        <p:spPr>
          <a:xfrm>
            <a:off x="3203960" y="6016434"/>
            <a:ext cx="9541060" cy="246671"/>
          </a:xfrm>
          <a:prstGeom prst="rect">
            <a:avLst/>
          </a:prstGeom>
          <a:noFill/>
        </p:spPr>
        <p:txBody>
          <a:bodyPr wrap="square" lIns="0" tIns="0" rIns="0" bIns="0" rtlCol="0">
            <a:spAutoFit/>
          </a:bodyPr>
          <a:lstStyle/>
          <a:p>
            <a:pPr>
              <a:lnSpc>
                <a:spcPct val="120000"/>
              </a:lnSpc>
              <a:spcBef>
                <a:spcPts val="800"/>
              </a:spcBef>
            </a:pPr>
            <a:r>
              <a:rPr lang="en-US" sz="700" dirty="0">
                <a:solidFill>
                  <a:schemeClr val="bg1">
                    <a:lumMod val="65000"/>
                  </a:schemeClr>
                </a:solidFill>
              </a:rPr>
              <a:t>Ref: </a:t>
            </a:r>
            <a:r>
              <a:rPr lang="en-US" sz="700" dirty="0" err="1">
                <a:solidFill>
                  <a:schemeClr val="bg1">
                    <a:lumMod val="65000"/>
                  </a:schemeClr>
                </a:solidFill>
              </a:rPr>
              <a:t>VicOne</a:t>
            </a:r>
            <a:r>
              <a:rPr lang="en-US" sz="700" dirty="0">
                <a:solidFill>
                  <a:schemeClr val="bg1">
                    <a:lumMod val="65000"/>
                  </a:schemeClr>
                </a:solidFill>
              </a:rPr>
              <a:t> 2025 Automotive Cybersecurity Report</a:t>
            </a:r>
            <a:br>
              <a:rPr lang="en-US" sz="700" dirty="0">
                <a:solidFill>
                  <a:schemeClr val="bg1">
                    <a:lumMod val="65000"/>
                  </a:schemeClr>
                </a:solidFill>
              </a:rPr>
            </a:br>
            <a:r>
              <a:rPr lang="en-US" sz="700" dirty="0" err="1">
                <a:solidFill>
                  <a:schemeClr val="bg1">
                    <a:lumMod val="65000"/>
                  </a:schemeClr>
                </a:solidFill>
              </a:rPr>
              <a:t>VIcOne</a:t>
            </a:r>
            <a:r>
              <a:rPr lang="en-US" sz="700" dirty="0">
                <a:solidFill>
                  <a:schemeClr val="bg1">
                    <a:lumMod val="65000"/>
                  </a:schemeClr>
                </a:solidFill>
              </a:rPr>
              <a:t> Automotive Cybersecurity Snapshot</a:t>
            </a:r>
          </a:p>
        </p:txBody>
      </p:sp>
      <p:sp>
        <p:nvSpPr>
          <p:cNvPr id="7" name="Footer Placeholder 2">
            <a:extLst>
              <a:ext uri="{FF2B5EF4-FFF2-40B4-BE49-F238E27FC236}">
                <a16:creationId xmlns:a16="http://schemas.microsoft.com/office/drawing/2014/main" id="{238D30A1-77D3-E634-09CD-DC571A5C0368}"/>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graphicFrame>
        <p:nvGraphicFramePr>
          <p:cNvPr id="10" name="Chart 9">
            <a:extLst>
              <a:ext uri="{FF2B5EF4-FFF2-40B4-BE49-F238E27FC236}">
                <a16:creationId xmlns:a16="http://schemas.microsoft.com/office/drawing/2014/main" id="{ED8907BE-AA6A-D5B9-9081-2F42D4E36D1C}"/>
              </a:ext>
            </a:extLst>
          </p:cNvPr>
          <p:cNvGraphicFramePr/>
          <p:nvPr>
            <p:extLst>
              <p:ext uri="{D42A27DB-BD31-4B8C-83A1-F6EECF244321}">
                <p14:modId xmlns:p14="http://schemas.microsoft.com/office/powerpoint/2010/main" val="3730095728"/>
              </p:ext>
            </p:extLst>
          </p:nvPr>
        </p:nvGraphicFramePr>
        <p:xfrm>
          <a:off x="1303820" y="753583"/>
          <a:ext cx="8848912" cy="4479543"/>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6E276AC9-90A5-0851-1A2D-EE27B6A2B856}"/>
              </a:ext>
            </a:extLst>
          </p:cNvPr>
          <p:cNvSpPr txBox="1"/>
          <p:nvPr/>
        </p:nvSpPr>
        <p:spPr>
          <a:xfrm>
            <a:off x="6816375" y="-18858"/>
            <a:ext cx="3138292" cy="553998"/>
          </a:xfrm>
          <a:prstGeom prst="rect">
            <a:avLst/>
          </a:prstGeom>
          <a:noFill/>
        </p:spPr>
        <p:txBody>
          <a:bodyPr wrap="square" rtlCol="0">
            <a:spAutoFit/>
          </a:bodyPr>
          <a:lstStyle/>
          <a:p>
            <a:pPr algn="l"/>
            <a:r>
              <a:rPr lang="en-US" sz="1000" dirty="0"/>
              <a:t>ECU: Electronic Control Unit</a:t>
            </a:r>
          </a:p>
          <a:p>
            <a:pPr algn="l"/>
            <a:r>
              <a:rPr lang="en-US" sz="1000" dirty="0"/>
              <a:t>BMS: Battery Management System</a:t>
            </a:r>
          </a:p>
          <a:p>
            <a:pPr algn="l"/>
            <a:r>
              <a:rPr lang="en-US" sz="1000" dirty="0"/>
              <a:t>EV: Electric Vehicle</a:t>
            </a:r>
          </a:p>
        </p:txBody>
      </p:sp>
      <p:sp>
        <p:nvSpPr>
          <p:cNvPr id="14" name="TextBox 13">
            <a:extLst>
              <a:ext uri="{FF2B5EF4-FFF2-40B4-BE49-F238E27FC236}">
                <a16:creationId xmlns:a16="http://schemas.microsoft.com/office/drawing/2014/main" id="{39C462C7-E897-48FB-7339-2D5B94696ABA}"/>
              </a:ext>
            </a:extLst>
          </p:cNvPr>
          <p:cNvSpPr txBox="1"/>
          <p:nvPr/>
        </p:nvSpPr>
        <p:spPr>
          <a:xfrm>
            <a:off x="8928596" y="-18858"/>
            <a:ext cx="3138292" cy="400110"/>
          </a:xfrm>
          <a:prstGeom prst="rect">
            <a:avLst/>
          </a:prstGeom>
          <a:noFill/>
        </p:spPr>
        <p:txBody>
          <a:bodyPr wrap="square" rtlCol="0">
            <a:spAutoFit/>
          </a:bodyPr>
          <a:lstStyle/>
          <a:p>
            <a:pPr algn="l"/>
            <a:r>
              <a:rPr lang="en-US" sz="1000" dirty="0"/>
              <a:t>ADAS: Advanced Driver Assistance System</a:t>
            </a:r>
          </a:p>
          <a:p>
            <a:pPr algn="l"/>
            <a:r>
              <a:rPr lang="en-US" sz="1000" dirty="0"/>
              <a:t>IVI: In-Vehicle Infotainment</a:t>
            </a:r>
          </a:p>
        </p:txBody>
      </p:sp>
    </p:spTree>
    <p:extLst>
      <p:ext uri="{BB962C8B-B14F-4D97-AF65-F5344CB8AC3E}">
        <p14:creationId xmlns:p14="http://schemas.microsoft.com/office/powerpoint/2010/main" val="22908232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AC8399-9087-FBAA-45C4-963F9E5E4145}"/>
              </a:ext>
            </a:extLst>
          </p:cNvPr>
          <p:cNvSpPr>
            <a:spLocks noGrp="1"/>
          </p:cNvSpPr>
          <p:nvPr>
            <p:ph type="title"/>
          </p:nvPr>
        </p:nvSpPr>
        <p:spPr/>
        <p:txBody>
          <a:bodyPr/>
          <a:lstStyle/>
          <a:p>
            <a:r>
              <a:rPr lang="en-US" dirty="0"/>
              <a:t>Overview of Published Automotive Vulnerabilities</a:t>
            </a:r>
          </a:p>
        </p:txBody>
      </p:sp>
      <p:sp>
        <p:nvSpPr>
          <p:cNvPr id="4" name="Slide Number Placeholder 3">
            <a:extLst>
              <a:ext uri="{FF2B5EF4-FFF2-40B4-BE49-F238E27FC236}">
                <a16:creationId xmlns:a16="http://schemas.microsoft.com/office/drawing/2014/main" id="{12960880-EBA7-0BCB-66A6-8F699011C921}"/>
              </a:ext>
            </a:extLst>
          </p:cNvPr>
          <p:cNvSpPr>
            <a:spLocks noGrp="1"/>
          </p:cNvSpPr>
          <p:nvPr>
            <p:ph type="sldNum" sz="quarter" idx="11"/>
          </p:nvPr>
        </p:nvSpPr>
        <p:spPr/>
        <p:txBody>
          <a:bodyPr/>
          <a:lstStyle/>
          <a:p>
            <a:fld id="{DD6C52D8-AF7F-4297-9A35-2617B7FF1801}" type="slidenum">
              <a:rPr lang="en-US" smtClean="0"/>
              <a:pPr/>
              <a:t>7</a:t>
            </a:fld>
            <a:endParaRPr lang="en-US" dirty="0"/>
          </a:p>
        </p:txBody>
      </p:sp>
      <p:sp>
        <p:nvSpPr>
          <p:cNvPr id="5" name="Rectangle: Rounded Corners 4">
            <a:extLst>
              <a:ext uri="{FF2B5EF4-FFF2-40B4-BE49-F238E27FC236}">
                <a16:creationId xmlns:a16="http://schemas.microsoft.com/office/drawing/2014/main" id="{8245A91F-7561-D027-88C6-FB7574606602}"/>
              </a:ext>
            </a:extLst>
          </p:cNvPr>
          <p:cNvSpPr/>
          <p:nvPr/>
        </p:nvSpPr>
        <p:spPr>
          <a:xfrm>
            <a:off x="1007716" y="5316168"/>
            <a:ext cx="9397044" cy="52908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en-US" sz="2000" dirty="0"/>
              <a:t>Increasing number of automotive vulnerabilities published year over year</a:t>
            </a:r>
          </a:p>
        </p:txBody>
      </p:sp>
      <p:sp>
        <p:nvSpPr>
          <p:cNvPr id="6" name="TextBox 5">
            <a:extLst>
              <a:ext uri="{FF2B5EF4-FFF2-40B4-BE49-F238E27FC236}">
                <a16:creationId xmlns:a16="http://schemas.microsoft.com/office/drawing/2014/main" id="{6AB2FFA7-72E0-0526-9DFC-5E022ED02A09}"/>
              </a:ext>
            </a:extLst>
          </p:cNvPr>
          <p:cNvSpPr txBox="1"/>
          <p:nvPr/>
        </p:nvSpPr>
        <p:spPr>
          <a:xfrm>
            <a:off x="3203960" y="6016434"/>
            <a:ext cx="9541060" cy="246671"/>
          </a:xfrm>
          <a:prstGeom prst="rect">
            <a:avLst/>
          </a:prstGeom>
          <a:noFill/>
        </p:spPr>
        <p:txBody>
          <a:bodyPr wrap="square" lIns="0" tIns="0" rIns="0" bIns="0" rtlCol="0">
            <a:spAutoFit/>
          </a:bodyPr>
          <a:lstStyle/>
          <a:p>
            <a:pPr>
              <a:lnSpc>
                <a:spcPct val="120000"/>
              </a:lnSpc>
              <a:spcBef>
                <a:spcPts val="800"/>
              </a:spcBef>
            </a:pPr>
            <a:r>
              <a:rPr lang="en-US" sz="700" dirty="0">
                <a:solidFill>
                  <a:schemeClr val="bg1">
                    <a:lumMod val="65000"/>
                  </a:schemeClr>
                </a:solidFill>
              </a:rPr>
              <a:t>Ref: </a:t>
            </a:r>
            <a:r>
              <a:rPr lang="en-US" sz="700" dirty="0" err="1">
                <a:solidFill>
                  <a:schemeClr val="bg1">
                    <a:lumMod val="65000"/>
                  </a:schemeClr>
                </a:solidFill>
              </a:rPr>
              <a:t>VicOne</a:t>
            </a:r>
            <a:r>
              <a:rPr lang="en-US" sz="700" dirty="0">
                <a:solidFill>
                  <a:schemeClr val="bg1">
                    <a:lumMod val="65000"/>
                  </a:schemeClr>
                </a:solidFill>
              </a:rPr>
              <a:t> 2025 Automotive Cybersecurity Report</a:t>
            </a:r>
            <a:br>
              <a:rPr lang="en-US" sz="700" dirty="0">
                <a:solidFill>
                  <a:schemeClr val="bg1">
                    <a:lumMod val="65000"/>
                  </a:schemeClr>
                </a:solidFill>
              </a:rPr>
            </a:br>
            <a:r>
              <a:rPr lang="en-US" sz="700" dirty="0" err="1">
                <a:solidFill>
                  <a:schemeClr val="bg1">
                    <a:lumMod val="65000"/>
                  </a:schemeClr>
                </a:solidFill>
              </a:rPr>
              <a:t>VIcOne</a:t>
            </a:r>
            <a:r>
              <a:rPr lang="en-US" sz="700" dirty="0">
                <a:solidFill>
                  <a:schemeClr val="bg1">
                    <a:lumMod val="65000"/>
                  </a:schemeClr>
                </a:solidFill>
              </a:rPr>
              <a:t> Automotive Cybersecurity Snapshot</a:t>
            </a:r>
          </a:p>
        </p:txBody>
      </p:sp>
      <p:sp>
        <p:nvSpPr>
          <p:cNvPr id="7" name="Footer Placeholder 2">
            <a:extLst>
              <a:ext uri="{FF2B5EF4-FFF2-40B4-BE49-F238E27FC236}">
                <a16:creationId xmlns:a16="http://schemas.microsoft.com/office/drawing/2014/main" id="{6CB11EC3-58F9-E057-61FF-03930FF9C101}"/>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graphicFrame>
        <p:nvGraphicFramePr>
          <p:cNvPr id="10" name="Chart 9">
            <a:extLst>
              <a:ext uri="{FF2B5EF4-FFF2-40B4-BE49-F238E27FC236}">
                <a16:creationId xmlns:a16="http://schemas.microsoft.com/office/drawing/2014/main" id="{4E3C06C0-FAE9-A6DC-7CA0-AD56A1ED5F22}"/>
              </a:ext>
            </a:extLst>
          </p:cNvPr>
          <p:cNvGraphicFramePr/>
          <p:nvPr>
            <p:extLst>
              <p:ext uri="{D42A27DB-BD31-4B8C-83A1-F6EECF244321}">
                <p14:modId xmlns:p14="http://schemas.microsoft.com/office/powerpoint/2010/main" val="1919059591"/>
              </p:ext>
            </p:extLst>
          </p:nvPr>
        </p:nvGraphicFramePr>
        <p:xfrm>
          <a:off x="863700" y="986423"/>
          <a:ext cx="9793088" cy="4164966"/>
        </p:xfrm>
        <a:graphic>
          <a:graphicData uri="http://schemas.openxmlformats.org/drawingml/2006/chart">
            <c:chart xmlns:c="http://schemas.openxmlformats.org/drawingml/2006/chart" xmlns:r="http://schemas.openxmlformats.org/officeDocument/2006/relationships" r:id="rId4"/>
          </a:graphicData>
        </a:graphic>
      </p:graphicFrame>
      <p:sp>
        <p:nvSpPr>
          <p:cNvPr id="19" name="Arc 18">
            <a:extLst>
              <a:ext uri="{FF2B5EF4-FFF2-40B4-BE49-F238E27FC236}">
                <a16:creationId xmlns:a16="http://schemas.microsoft.com/office/drawing/2014/main" id="{F835416F-E224-0F27-89E5-E3FCADD48B31}"/>
              </a:ext>
            </a:extLst>
          </p:cNvPr>
          <p:cNvSpPr/>
          <p:nvPr/>
        </p:nvSpPr>
        <p:spPr>
          <a:xfrm rot="6712801">
            <a:off x="8285585" y="-37590"/>
            <a:ext cx="2088232" cy="1345024"/>
          </a:xfrm>
          <a:prstGeom prst="arc">
            <a:avLst>
              <a:gd name="adj1" fmla="val 14985796"/>
              <a:gd name="adj2" fmla="val 20013999"/>
            </a:avLst>
          </a:prstGeom>
          <a:ln w="38100">
            <a:solidFill>
              <a:srgbClr val="C00000"/>
            </a:soli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symbol_Question">
            <a:extLst>
              <a:ext uri="{FF2B5EF4-FFF2-40B4-BE49-F238E27FC236}">
                <a16:creationId xmlns:a16="http://schemas.microsoft.com/office/drawing/2014/main" id="{F00DA67E-5882-9FE7-1F50-EA79268FED96}"/>
              </a:ext>
            </a:extLst>
          </p:cNvPr>
          <p:cNvSpPr>
            <a:spLocks noChangeAspect="1"/>
          </p:cNvSpPr>
          <p:nvPr>
            <p:custDataLst>
              <p:tags r:id="rId1"/>
            </p:custDataLst>
          </p:nvPr>
        </p:nvSpPr>
        <p:spPr>
          <a:xfrm>
            <a:off x="10077037" y="815241"/>
            <a:ext cx="363727" cy="654742"/>
          </a:xfrm>
          <a:custGeom>
            <a:avLst/>
            <a:gdLst>
              <a:gd name="connsiteX0" fmla="*/ 63574 w 240730"/>
              <a:gd name="connsiteY0" fmla="*/ 361328 h 433336"/>
              <a:gd name="connsiteX1" fmla="*/ 135582 w 240730"/>
              <a:gd name="connsiteY1" fmla="*/ 361328 h 433336"/>
              <a:gd name="connsiteX2" fmla="*/ 135582 w 240730"/>
              <a:gd name="connsiteY2" fmla="*/ 433336 h 433336"/>
              <a:gd name="connsiteX3" fmla="*/ 63574 w 240730"/>
              <a:gd name="connsiteY3" fmla="*/ 433336 h 433336"/>
              <a:gd name="connsiteX4" fmla="*/ 121499 w 240730"/>
              <a:gd name="connsiteY4" fmla="*/ 23 h 433336"/>
              <a:gd name="connsiteX5" fmla="*/ 153310 w 240730"/>
              <a:gd name="connsiteY5" fmla="*/ 5323 h 433336"/>
              <a:gd name="connsiteX6" fmla="*/ 235049 w 240730"/>
              <a:gd name="connsiteY6" fmla="*/ 142903 h 433336"/>
              <a:gd name="connsiteX7" fmla="*/ 144018 w 240730"/>
              <a:gd name="connsiteY7" fmla="*/ 270550 h 433336"/>
              <a:gd name="connsiteX8" fmla="*/ 135155 w 240730"/>
              <a:gd name="connsiteY8" fmla="*/ 323290 h 433336"/>
              <a:gd name="connsiteX9" fmla="*/ 63796 w 240730"/>
              <a:gd name="connsiteY9" fmla="*/ 323999 h 433336"/>
              <a:gd name="connsiteX10" fmla="*/ 73762 w 240730"/>
              <a:gd name="connsiteY10" fmla="*/ 238180 h 433336"/>
              <a:gd name="connsiteX11" fmla="*/ 150012 w 240730"/>
              <a:gd name="connsiteY11" fmla="*/ 146517 h 433336"/>
              <a:gd name="connsiteX12" fmla="*/ 116913 w 240730"/>
              <a:gd name="connsiteY12" fmla="*/ 77442 h 433336"/>
              <a:gd name="connsiteX13" fmla="*/ 53356 w 240730"/>
              <a:gd name="connsiteY13" fmla="*/ 113284 h 433336"/>
              <a:gd name="connsiteX14" fmla="*/ 0 w 240730"/>
              <a:gd name="connsiteY14" fmla="*/ 71711 h 433336"/>
              <a:gd name="connsiteX15" fmla="*/ 16547 w 240730"/>
              <a:gd name="connsiteY15" fmla="*/ 48517 h 433336"/>
              <a:gd name="connsiteX16" fmla="*/ 121499 w 240730"/>
              <a:gd name="connsiteY16" fmla="*/ 23 h 43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0730" h="433336">
                <a:moveTo>
                  <a:pt x="63574" y="361328"/>
                </a:moveTo>
                <a:lnTo>
                  <a:pt x="135582" y="361328"/>
                </a:lnTo>
                <a:lnTo>
                  <a:pt x="135582" y="433336"/>
                </a:lnTo>
                <a:lnTo>
                  <a:pt x="63574" y="433336"/>
                </a:lnTo>
                <a:close/>
                <a:moveTo>
                  <a:pt x="121499" y="23"/>
                </a:moveTo>
                <a:cubicBezTo>
                  <a:pt x="133294" y="249"/>
                  <a:pt x="144206" y="2099"/>
                  <a:pt x="153310" y="5323"/>
                </a:cubicBezTo>
                <a:cubicBezTo>
                  <a:pt x="214840" y="18219"/>
                  <a:pt x="256444" y="77600"/>
                  <a:pt x="235049" y="142903"/>
                </a:cubicBezTo>
                <a:cubicBezTo>
                  <a:pt x="219966" y="188940"/>
                  <a:pt x="160667" y="240485"/>
                  <a:pt x="144018" y="270550"/>
                </a:cubicBezTo>
                <a:cubicBezTo>
                  <a:pt x="137371" y="291437"/>
                  <a:pt x="135894" y="296735"/>
                  <a:pt x="135155" y="323290"/>
                </a:cubicBezTo>
                <a:lnTo>
                  <a:pt x="63796" y="323999"/>
                </a:lnTo>
                <a:cubicBezTo>
                  <a:pt x="63659" y="284777"/>
                  <a:pt x="59393" y="267760"/>
                  <a:pt x="73762" y="238180"/>
                </a:cubicBezTo>
                <a:cubicBezTo>
                  <a:pt x="88131" y="208599"/>
                  <a:pt x="130677" y="172038"/>
                  <a:pt x="150012" y="146517"/>
                </a:cubicBezTo>
                <a:cubicBezTo>
                  <a:pt x="166271" y="110583"/>
                  <a:pt x="156442" y="86246"/>
                  <a:pt x="116913" y="77442"/>
                </a:cubicBezTo>
                <a:cubicBezTo>
                  <a:pt x="85497" y="73936"/>
                  <a:pt x="75571" y="90347"/>
                  <a:pt x="53356" y="113284"/>
                </a:cubicBezTo>
                <a:lnTo>
                  <a:pt x="0" y="71711"/>
                </a:lnTo>
                <a:cubicBezTo>
                  <a:pt x="6254" y="64452"/>
                  <a:pt x="12" y="67167"/>
                  <a:pt x="16547" y="48517"/>
                </a:cubicBezTo>
                <a:cubicBezTo>
                  <a:pt x="42798" y="13272"/>
                  <a:pt x="86117" y="-657"/>
                  <a:pt x="121499" y="23"/>
                </a:cubicBezTo>
                <a:close/>
              </a:path>
            </a:pathLst>
          </a:custGeom>
          <a:solidFill>
            <a:srgbClr val="001A54"/>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err="1">
              <a:solidFill>
                <a:srgbClr val="001A54"/>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2FA8B656-2B1B-CEF6-7269-87D0CD6E55F6}"/>
              </a:ext>
            </a:extLst>
          </p:cNvPr>
          <p:cNvSpPr txBox="1"/>
          <p:nvPr/>
        </p:nvSpPr>
        <p:spPr>
          <a:xfrm>
            <a:off x="8002614" y="1111210"/>
            <a:ext cx="1080120" cy="603691"/>
          </a:xfrm>
          <a:prstGeom prst="rect">
            <a:avLst/>
          </a:prstGeom>
          <a:noFill/>
        </p:spPr>
        <p:txBody>
          <a:bodyPr wrap="square" lIns="0" tIns="0" rIns="0" bIns="0" rtlCol="0">
            <a:spAutoFit/>
          </a:bodyPr>
          <a:lstStyle/>
          <a:p>
            <a:pPr algn="l">
              <a:lnSpc>
                <a:spcPct val="120000"/>
              </a:lnSpc>
              <a:spcBef>
                <a:spcPts val="800"/>
              </a:spcBef>
            </a:pPr>
            <a:r>
              <a:rPr lang="en-US" sz="3600" dirty="0"/>
              <a:t>500+</a:t>
            </a:r>
          </a:p>
        </p:txBody>
      </p:sp>
    </p:spTree>
    <p:extLst>
      <p:ext uri="{BB962C8B-B14F-4D97-AF65-F5344CB8AC3E}">
        <p14:creationId xmlns:p14="http://schemas.microsoft.com/office/powerpoint/2010/main" val="11766443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9700D4-C2EC-16AB-8A90-AB7ACF25CFED}"/>
              </a:ext>
            </a:extLst>
          </p:cNvPr>
          <p:cNvSpPr>
            <a:spLocks noGrp="1"/>
          </p:cNvSpPr>
          <p:nvPr>
            <p:ph type="title"/>
          </p:nvPr>
        </p:nvSpPr>
        <p:spPr/>
        <p:txBody>
          <a:bodyPr/>
          <a:lstStyle/>
          <a:p>
            <a:r>
              <a:rPr lang="en-US" dirty="0"/>
              <a:t>Estimated Cost of Cyberattacks in the Automotive Industry</a:t>
            </a:r>
          </a:p>
        </p:txBody>
      </p:sp>
      <p:sp>
        <p:nvSpPr>
          <p:cNvPr id="4" name="Slide Number Placeholder 3">
            <a:extLst>
              <a:ext uri="{FF2B5EF4-FFF2-40B4-BE49-F238E27FC236}">
                <a16:creationId xmlns:a16="http://schemas.microsoft.com/office/drawing/2014/main" id="{E0DA3034-A962-0288-B32A-CDB2BA99A09D}"/>
              </a:ext>
            </a:extLst>
          </p:cNvPr>
          <p:cNvSpPr>
            <a:spLocks noGrp="1"/>
          </p:cNvSpPr>
          <p:nvPr>
            <p:ph type="sldNum" sz="quarter" idx="11"/>
          </p:nvPr>
        </p:nvSpPr>
        <p:spPr/>
        <p:txBody>
          <a:bodyPr/>
          <a:lstStyle/>
          <a:p>
            <a:fld id="{DD6C52D8-AF7F-4297-9A35-2617B7FF1801}" type="slidenum">
              <a:rPr lang="en-US" smtClean="0"/>
              <a:pPr/>
              <a:t>8</a:t>
            </a:fld>
            <a:endParaRPr lang="en-US" dirty="0"/>
          </a:p>
        </p:txBody>
      </p:sp>
      <p:sp>
        <p:nvSpPr>
          <p:cNvPr id="5" name="Oval 4">
            <a:extLst>
              <a:ext uri="{FF2B5EF4-FFF2-40B4-BE49-F238E27FC236}">
                <a16:creationId xmlns:a16="http://schemas.microsoft.com/office/drawing/2014/main" id="{D0D5E14B-82D5-DB10-EA76-35CCCF83519C}"/>
              </a:ext>
            </a:extLst>
          </p:cNvPr>
          <p:cNvSpPr/>
          <p:nvPr/>
        </p:nvSpPr>
        <p:spPr>
          <a:xfrm>
            <a:off x="6056895" y="666051"/>
            <a:ext cx="5148072" cy="514807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6" name="Oval 5">
            <a:extLst>
              <a:ext uri="{FF2B5EF4-FFF2-40B4-BE49-F238E27FC236}">
                <a16:creationId xmlns:a16="http://schemas.microsoft.com/office/drawing/2014/main" id="{1B0E50D2-7851-541A-471D-00C6CB13BECA}"/>
              </a:ext>
            </a:extLst>
          </p:cNvPr>
          <p:cNvSpPr/>
          <p:nvPr/>
        </p:nvSpPr>
        <p:spPr>
          <a:xfrm>
            <a:off x="1079724" y="5603875"/>
            <a:ext cx="228600" cy="2286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7" name="Oval 6">
            <a:extLst>
              <a:ext uri="{FF2B5EF4-FFF2-40B4-BE49-F238E27FC236}">
                <a16:creationId xmlns:a16="http://schemas.microsoft.com/office/drawing/2014/main" id="{5ACADD31-6E48-6F52-D602-7480D7C1C95C}"/>
              </a:ext>
            </a:extLst>
          </p:cNvPr>
          <p:cNvSpPr/>
          <p:nvPr/>
        </p:nvSpPr>
        <p:spPr>
          <a:xfrm>
            <a:off x="2511700" y="2911922"/>
            <a:ext cx="2926080" cy="292608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12" name="TextBox 11">
            <a:extLst>
              <a:ext uri="{FF2B5EF4-FFF2-40B4-BE49-F238E27FC236}">
                <a16:creationId xmlns:a16="http://schemas.microsoft.com/office/drawing/2014/main" id="{6FA24412-5F6C-4345-7300-C1F260A78A71}"/>
              </a:ext>
            </a:extLst>
          </p:cNvPr>
          <p:cNvSpPr txBox="1"/>
          <p:nvPr/>
        </p:nvSpPr>
        <p:spPr>
          <a:xfrm>
            <a:off x="524519" y="4580638"/>
            <a:ext cx="1368066" cy="807337"/>
          </a:xfrm>
          <a:prstGeom prst="rect">
            <a:avLst/>
          </a:prstGeom>
          <a:noFill/>
        </p:spPr>
        <p:txBody>
          <a:bodyPr wrap="square" lIns="0" tIns="0" rIns="0" bIns="0" rtlCol="0">
            <a:spAutoFit/>
          </a:bodyPr>
          <a:lstStyle/>
          <a:p>
            <a:pPr algn="ctr">
              <a:lnSpc>
                <a:spcPct val="120000"/>
              </a:lnSpc>
              <a:spcBef>
                <a:spcPts val="800"/>
              </a:spcBef>
            </a:pPr>
            <a:r>
              <a:rPr lang="en-US" sz="2000" dirty="0"/>
              <a:t>2022</a:t>
            </a:r>
          </a:p>
          <a:p>
            <a:pPr algn="ctr">
              <a:lnSpc>
                <a:spcPct val="120000"/>
              </a:lnSpc>
              <a:spcBef>
                <a:spcPts val="800"/>
              </a:spcBef>
            </a:pPr>
            <a:r>
              <a:rPr lang="en-US" sz="2000" dirty="0"/>
              <a:t>$1.0B</a:t>
            </a:r>
          </a:p>
        </p:txBody>
      </p:sp>
      <p:sp>
        <p:nvSpPr>
          <p:cNvPr id="13" name="TextBox 12">
            <a:extLst>
              <a:ext uri="{FF2B5EF4-FFF2-40B4-BE49-F238E27FC236}">
                <a16:creationId xmlns:a16="http://schemas.microsoft.com/office/drawing/2014/main" id="{17B03E7D-5500-DEA3-F153-0A594441FC64}"/>
              </a:ext>
            </a:extLst>
          </p:cNvPr>
          <p:cNvSpPr txBox="1"/>
          <p:nvPr/>
        </p:nvSpPr>
        <p:spPr>
          <a:xfrm>
            <a:off x="3290707" y="3795155"/>
            <a:ext cx="1368066" cy="1159613"/>
          </a:xfrm>
          <a:prstGeom prst="rect">
            <a:avLst/>
          </a:prstGeom>
          <a:noFill/>
        </p:spPr>
        <p:txBody>
          <a:bodyPr wrap="square" lIns="0" tIns="0" rIns="0" bIns="0" rtlCol="0">
            <a:spAutoFit/>
          </a:bodyPr>
          <a:lstStyle/>
          <a:p>
            <a:pPr algn="ctr">
              <a:lnSpc>
                <a:spcPct val="120000"/>
              </a:lnSpc>
              <a:spcBef>
                <a:spcPts val="800"/>
              </a:spcBef>
            </a:pPr>
            <a:r>
              <a:rPr lang="en-US" sz="3000" dirty="0">
                <a:solidFill>
                  <a:srgbClr val="FFFFFF"/>
                </a:solidFill>
              </a:rPr>
              <a:t>2023</a:t>
            </a:r>
          </a:p>
          <a:p>
            <a:pPr algn="ctr">
              <a:lnSpc>
                <a:spcPct val="120000"/>
              </a:lnSpc>
              <a:spcBef>
                <a:spcPts val="800"/>
              </a:spcBef>
            </a:pPr>
            <a:r>
              <a:rPr lang="en-US" sz="3000" dirty="0">
                <a:solidFill>
                  <a:srgbClr val="FFFFFF"/>
                </a:solidFill>
              </a:rPr>
              <a:t>$12.8B</a:t>
            </a:r>
          </a:p>
        </p:txBody>
      </p:sp>
      <p:sp>
        <p:nvSpPr>
          <p:cNvPr id="14" name="TextBox 13">
            <a:extLst>
              <a:ext uri="{FF2B5EF4-FFF2-40B4-BE49-F238E27FC236}">
                <a16:creationId xmlns:a16="http://schemas.microsoft.com/office/drawing/2014/main" id="{E494AA9C-6CC1-CB56-317A-ADFF33B3FF22}"/>
              </a:ext>
            </a:extLst>
          </p:cNvPr>
          <p:cNvSpPr txBox="1"/>
          <p:nvPr/>
        </p:nvSpPr>
        <p:spPr>
          <a:xfrm>
            <a:off x="7766835" y="2699468"/>
            <a:ext cx="1728192" cy="1371081"/>
          </a:xfrm>
          <a:prstGeom prst="rect">
            <a:avLst/>
          </a:prstGeom>
          <a:noFill/>
        </p:spPr>
        <p:txBody>
          <a:bodyPr wrap="square" lIns="0" tIns="0" rIns="0" bIns="0" rtlCol="0">
            <a:spAutoFit/>
          </a:bodyPr>
          <a:lstStyle/>
          <a:p>
            <a:pPr algn="ctr">
              <a:lnSpc>
                <a:spcPct val="120000"/>
              </a:lnSpc>
              <a:spcBef>
                <a:spcPts val="800"/>
              </a:spcBef>
            </a:pPr>
            <a:r>
              <a:rPr lang="en-US" sz="3600" dirty="0">
                <a:solidFill>
                  <a:srgbClr val="FFFFFF"/>
                </a:solidFill>
              </a:rPr>
              <a:t>2024</a:t>
            </a:r>
          </a:p>
          <a:p>
            <a:pPr algn="ctr">
              <a:lnSpc>
                <a:spcPct val="120000"/>
              </a:lnSpc>
              <a:spcBef>
                <a:spcPts val="800"/>
              </a:spcBef>
            </a:pPr>
            <a:r>
              <a:rPr lang="en-US" sz="3600" dirty="0">
                <a:solidFill>
                  <a:srgbClr val="FFFFFF"/>
                </a:solidFill>
              </a:rPr>
              <a:t>$22.5B</a:t>
            </a:r>
          </a:p>
        </p:txBody>
      </p:sp>
      <p:sp>
        <p:nvSpPr>
          <p:cNvPr id="24" name="backgroundFixed">
            <a:extLst>
              <a:ext uri="{FF2B5EF4-FFF2-40B4-BE49-F238E27FC236}">
                <a16:creationId xmlns:a16="http://schemas.microsoft.com/office/drawing/2014/main" id="{48BC9122-5EA9-A001-5DBD-75F30683DB02}"/>
              </a:ext>
            </a:extLst>
          </p:cNvPr>
          <p:cNvSpPr/>
          <p:nvPr>
            <p:custDataLst>
              <p:tags r:id="rId1"/>
            </p:custDataLst>
          </p:nvPr>
        </p:nvSpPr>
        <p:spPr>
          <a:xfrm>
            <a:off x="-1539538" y="1020837"/>
            <a:ext cx="7119601" cy="7119601"/>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sp>
        <p:nvSpPr>
          <p:cNvPr id="8" name="Footer Placeholder 2">
            <a:extLst>
              <a:ext uri="{FF2B5EF4-FFF2-40B4-BE49-F238E27FC236}">
                <a16:creationId xmlns:a16="http://schemas.microsoft.com/office/drawing/2014/main" id="{74CBE8CE-61CD-9697-0B20-04F1724DE040}"/>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sp>
        <p:nvSpPr>
          <p:cNvPr id="9" name="TextBox 8">
            <a:extLst>
              <a:ext uri="{FF2B5EF4-FFF2-40B4-BE49-F238E27FC236}">
                <a16:creationId xmlns:a16="http://schemas.microsoft.com/office/drawing/2014/main" id="{0B80ED2B-5AF2-1674-855A-35603969D2B5}"/>
              </a:ext>
            </a:extLst>
          </p:cNvPr>
          <p:cNvSpPr txBox="1"/>
          <p:nvPr/>
        </p:nvSpPr>
        <p:spPr>
          <a:xfrm>
            <a:off x="3203960" y="6016434"/>
            <a:ext cx="9541060" cy="246671"/>
          </a:xfrm>
          <a:prstGeom prst="rect">
            <a:avLst/>
          </a:prstGeom>
          <a:noFill/>
        </p:spPr>
        <p:txBody>
          <a:bodyPr wrap="square" lIns="0" tIns="0" rIns="0" bIns="0" rtlCol="0">
            <a:spAutoFit/>
          </a:bodyPr>
          <a:lstStyle/>
          <a:p>
            <a:pPr>
              <a:lnSpc>
                <a:spcPct val="120000"/>
              </a:lnSpc>
              <a:spcBef>
                <a:spcPts val="800"/>
              </a:spcBef>
            </a:pPr>
            <a:r>
              <a:rPr lang="en-US" sz="700" dirty="0">
                <a:solidFill>
                  <a:schemeClr val="bg1">
                    <a:lumMod val="65000"/>
                  </a:schemeClr>
                </a:solidFill>
              </a:rPr>
              <a:t>Ref: </a:t>
            </a:r>
            <a:r>
              <a:rPr lang="en-US" sz="700" dirty="0" err="1">
                <a:solidFill>
                  <a:schemeClr val="bg1">
                    <a:lumMod val="65000"/>
                  </a:schemeClr>
                </a:solidFill>
              </a:rPr>
              <a:t>VicOne</a:t>
            </a:r>
            <a:r>
              <a:rPr lang="en-US" sz="700" dirty="0">
                <a:solidFill>
                  <a:schemeClr val="bg1">
                    <a:lumMod val="65000"/>
                  </a:schemeClr>
                </a:solidFill>
              </a:rPr>
              <a:t> 2025 Automotive Cybersecurity Report</a:t>
            </a:r>
            <a:br>
              <a:rPr lang="en-US" sz="700" dirty="0">
                <a:solidFill>
                  <a:schemeClr val="bg1">
                    <a:lumMod val="65000"/>
                  </a:schemeClr>
                </a:solidFill>
              </a:rPr>
            </a:br>
            <a:r>
              <a:rPr lang="en-US" sz="700" dirty="0" err="1">
                <a:solidFill>
                  <a:schemeClr val="bg1">
                    <a:lumMod val="65000"/>
                  </a:schemeClr>
                </a:solidFill>
              </a:rPr>
              <a:t>VIcOne</a:t>
            </a:r>
            <a:r>
              <a:rPr lang="en-US" sz="700" dirty="0">
                <a:solidFill>
                  <a:schemeClr val="bg1">
                    <a:lumMod val="65000"/>
                  </a:schemeClr>
                </a:solidFill>
              </a:rPr>
              <a:t> Automotive Cybersecurity Snapshot</a:t>
            </a:r>
          </a:p>
        </p:txBody>
      </p:sp>
    </p:spTree>
    <p:extLst>
      <p:ext uri="{BB962C8B-B14F-4D97-AF65-F5344CB8AC3E}">
        <p14:creationId xmlns:p14="http://schemas.microsoft.com/office/powerpoint/2010/main" val="136886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20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2000"/>
                                        <p:tgtEl>
                                          <p:spTgt spid="6"/>
                                        </p:tgtEl>
                                      </p:cBhvr>
                                    </p:animEffect>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2000"/>
                                        <p:tgtEl>
                                          <p:spTgt spid="13"/>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2000"/>
                                        <p:tgtEl>
                                          <p:spTgt spid="7"/>
                                        </p:tgtEl>
                                      </p:cBhvr>
                                    </p:animEffect>
                                  </p:childTnLst>
                                </p:cTn>
                              </p:par>
                            </p:childTnLst>
                          </p:cTn>
                        </p:par>
                        <p:par>
                          <p:cTn id="18" fill="hold">
                            <p:stCondLst>
                              <p:cond delay="4000"/>
                            </p:stCondLst>
                            <p:childTnLst>
                              <p:par>
                                <p:cTn id="19" presetID="10" presetClass="entr" presetSubtype="0"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2000"/>
                                        <p:tgtEl>
                                          <p:spTgt spid="1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12" grpId="0"/>
      <p:bldP spid="13" grpId="0"/>
      <p:bldP spid="1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75B3C92-75D3-72EB-C2BE-FF206D37F3AE}"/>
              </a:ext>
            </a:extLst>
          </p:cNvPr>
          <p:cNvSpPr>
            <a:spLocks noGrp="1"/>
          </p:cNvSpPr>
          <p:nvPr>
            <p:ph type="title"/>
          </p:nvPr>
        </p:nvSpPr>
        <p:spPr/>
        <p:txBody>
          <a:bodyPr/>
          <a:lstStyle/>
          <a:p>
            <a:r>
              <a:rPr lang="en-US" dirty="0"/>
              <a:t>SDV Ecosystem – New Use Cases and Technologies</a:t>
            </a:r>
          </a:p>
        </p:txBody>
      </p:sp>
      <p:sp>
        <p:nvSpPr>
          <p:cNvPr id="3" name="Footer Placeholder 2">
            <a:extLst>
              <a:ext uri="{FF2B5EF4-FFF2-40B4-BE49-F238E27FC236}">
                <a16:creationId xmlns:a16="http://schemas.microsoft.com/office/drawing/2014/main" id="{FD222FED-D1FD-F428-5B53-FD71CA764B52}"/>
              </a:ext>
            </a:extLst>
          </p:cNvPr>
          <p:cNvSpPr>
            <a:spLocks noGrp="1"/>
          </p:cNvSpPr>
          <p:nvPr>
            <p:ph type="ftr" sz="quarter" idx="10"/>
          </p:nvPr>
        </p:nvSpPr>
        <p:spPr/>
        <p:txBody>
          <a:bodyPr/>
          <a:lstStyle/>
          <a:p>
            <a:r>
              <a:rPr lang="en-US" dirty="0"/>
              <a:t>IAV  05/2025  IAVJ  DKO  Status: draft, confidential</a:t>
            </a:r>
          </a:p>
        </p:txBody>
      </p:sp>
      <p:sp>
        <p:nvSpPr>
          <p:cNvPr id="4" name="Slide Number Placeholder 3">
            <a:extLst>
              <a:ext uri="{FF2B5EF4-FFF2-40B4-BE49-F238E27FC236}">
                <a16:creationId xmlns:a16="http://schemas.microsoft.com/office/drawing/2014/main" id="{946C3F21-2C9A-EFE7-6B69-8E6CD7D78B62}"/>
              </a:ext>
            </a:extLst>
          </p:cNvPr>
          <p:cNvSpPr>
            <a:spLocks noGrp="1"/>
          </p:cNvSpPr>
          <p:nvPr>
            <p:ph type="sldNum" sz="quarter" idx="11"/>
          </p:nvPr>
        </p:nvSpPr>
        <p:spPr/>
        <p:txBody>
          <a:bodyPr/>
          <a:lstStyle/>
          <a:p>
            <a:fld id="{C651C7C4-31E4-E340-822E-DEA0EA75A835}" type="slidenum">
              <a:rPr lang="en-US" smtClean="0"/>
              <a:pPr/>
              <a:t>9</a:t>
            </a:fld>
            <a:endParaRPr lang="en-US" dirty="0"/>
          </a:p>
        </p:txBody>
      </p:sp>
      <p:cxnSp>
        <p:nvCxnSpPr>
          <p:cNvPr id="15" name="Straight Arrow Connector 14">
            <a:extLst>
              <a:ext uri="{FF2B5EF4-FFF2-40B4-BE49-F238E27FC236}">
                <a16:creationId xmlns:a16="http://schemas.microsoft.com/office/drawing/2014/main" id="{BAE60CE2-FB42-2B2A-5162-7E1FAA553E8F}"/>
              </a:ext>
            </a:extLst>
          </p:cNvPr>
          <p:cNvCxnSpPr/>
          <p:nvPr/>
        </p:nvCxnSpPr>
        <p:spPr>
          <a:xfrm flipH="1" flipV="1">
            <a:off x="6828841" y="2354150"/>
            <a:ext cx="1764196" cy="1152128"/>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D96514F5-9E91-806B-C05A-5E82C0C27F10}"/>
              </a:ext>
            </a:extLst>
          </p:cNvPr>
          <p:cNvCxnSpPr>
            <a:cxnSpLocks/>
          </p:cNvCxnSpPr>
          <p:nvPr/>
        </p:nvCxnSpPr>
        <p:spPr>
          <a:xfrm flipH="1">
            <a:off x="2545512" y="2354150"/>
            <a:ext cx="1764196" cy="1152128"/>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7DE37440-D260-F91C-F2E9-7CE5D0F41A04}"/>
              </a:ext>
            </a:extLst>
          </p:cNvPr>
          <p:cNvSpPr/>
          <p:nvPr/>
        </p:nvSpPr>
        <p:spPr>
          <a:xfrm>
            <a:off x="1007716" y="5316168"/>
            <a:ext cx="9397044" cy="52908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en-US" sz="2000" dirty="0"/>
              <a:t>Advanced software and increased connectivity to support new SDV use cases</a:t>
            </a:r>
          </a:p>
        </p:txBody>
      </p:sp>
      <p:sp>
        <p:nvSpPr>
          <p:cNvPr id="5" name="Speech Bubble: Rectangle with Corners Rounded 4">
            <a:extLst>
              <a:ext uri="{FF2B5EF4-FFF2-40B4-BE49-F238E27FC236}">
                <a16:creationId xmlns:a16="http://schemas.microsoft.com/office/drawing/2014/main" id="{0C0B6660-AFE7-CDE6-EDC8-F6C14D0B7A69}"/>
              </a:ext>
            </a:extLst>
          </p:cNvPr>
          <p:cNvSpPr/>
          <p:nvPr/>
        </p:nvSpPr>
        <p:spPr>
          <a:xfrm>
            <a:off x="8392269" y="721642"/>
            <a:ext cx="2444539" cy="1952443"/>
          </a:xfrm>
          <a:prstGeom prst="wedgeRoundRectCallou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r>
              <a:rPr lang="en-US" sz="1600" dirty="0"/>
              <a:t>Phone as a key</a:t>
            </a:r>
          </a:p>
          <a:p>
            <a:pPr algn="l">
              <a:spcBef>
                <a:spcPts val="800"/>
              </a:spcBef>
            </a:pPr>
            <a:r>
              <a:rPr lang="en-US" sz="1600" dirty="0"/>
              <a:t>Smart parking</a:t>
            </a:r>
          </a:p>
          <a:p>
            <a:pPr algn="l">
              <a:spcBef>
                <a:spcPts val="800"/>
              </a:spcBef>
            </a:pPr>
            <a:r>
              <a:rPr lang="en-US" sz="1600" dirty="0"/>
              <a:t>Summon vehicle</a:t>
            </a:r>
          </a:p>
          <a:p>
            <a:pPr algn="l">
              <a:spcBef>
                <a:spcPts val="800"/>
              </a:spcBef>
            </a:pPr>
            <a:r>
              <a:rPr lang="en-US" sz="1600" dirty="0"/>
              <a:t>Remote diagnostics</a:t>
            </a:r>
          </a:p>
          <a:p>
            <a:pPr algn="l">
              <a:spcBef>
                <a:spcPts val="800"/>
              </a:spcBef>
            </a:pPr>
            <a:r>
              <a:rPr lang="en-US" sz="1600" dirty="0"/>
              <a:t>Vehicle management</a:t>
            </a:r>
          </a:p>
        </p:txBody>
      </p:sp>
      <p:sp>
        <p:nvSpPr>
          <p:cNvPr id="8" name="TextBox 7">
            <a:extLst>
              <a:ext uri="{FF2B5EF4-FFF2-40B4-BE49-F238E27FC236}">
                <a16:creationId xmlns:a16="http://schemas.microsoft.com/office/drawing/2014/main" id="{F8487285-A2A6-C402-693D-D773051BAEFC}"/>
              </a:ext>
            </a:extLst>
          </p:cNvPr>
          <p:cNvSpPr txBox="1"/>
          <p:nvPr/>
        </p:nvSpPr>
        <p:spPr>
          <a:xfrm>
            <a:off x="9582890" y="-1"/>
            <a:ext cx="3138292" cy="400110"/>
          </a:xfrm>
          <a:prstGeom prst="rect">
            <a:avLst/>
          </a:prstGeom>
          <a:noFill/>
        </p:spPr>
        <p:txBody>
          <a:bodyPr wrap="square" rtlCol="0">
            <a:spAutoFit/>
          </a:bodyPr>
          <a:lstStyle/>
          <a:p>
            <a:pPr algn="l"/>
            <a:r>
              <a:rPr lang="en-US" sz="1000" dirty="0"/>
              <a:t>SDV: Software-Defined Vehicle</a:t>
            </a:r>
          </a:p>
          <a:p>
            <a:pPr algn="l"/>
            <a:r>
              <a:rPr lang="en-US" sz="1000" dirty="0"/>
              <a:t>V2X: Vehicle to X</a:t>
            </a:r>
          </a:p>
        </p:txBody>
      </p:sp>
      <p:sp>
        <p:nvSpPr>
          <p:cNvPr id="10" name="Speech Bubble: Rectangle with Corners Rounded 9">
            <a:extLst>
              <a:ext uri="{FF2B5EF4-FFF2-40B4-BE49-F238E27FC236}">
                <a16:creationId xmlns:a16="http://schemas.microsoft.com/office/drawing/2014/main" id="{AA1E308B-B301-6ACC-DFF7-F34089C4504B}"/>
              </a:ext>
            </a:extLst>
          </p:cNvPr>
          <p:cNvSpPr/>
          <p:nvPr/>
        </p:nvSpPr>
        <p:spPr>
          <a:xfrm>
            <a:off x="4440748" y="2429752"/>
            <a:ext cx="2279775" cy="1620672"/>
          </a:xfrm>
          <a:prstGeom prst="wedgeRoundRectCallout">
            <a:avLst>
              <a:gd name="adj1" fmla="val 22659"/>
              <a:gd name="adj2" fmla="val 57837"/>
              <a:gd name="adj3" fmla="val 1666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r>
              <a:rPr lang="en-US" sz="1600" dirty="0"/>
              <a:t>V2X</a:t>
            </a:r>
          </a:p>
          <a:p>
            <a:pPr algn="l">
              <a:spcBef>
                <a:spcPts val="800"/>
              </a:spcBef>
            </a:pPr>
            <a:r>
              <a:rPr lang="en-US" sz="1600" dirty="0"/>
              <a:t>Cellular</a:t>
            </a:r>
          </a:p>
          <a:p>
            <a:pPr algn="l">
              <a:spcBef>
                <a:spcPts val="800"/>
              </a:spcBef>
            </a:pPr>
            <a:r>
              <a:rPr lang="en-US" sz="1600" dirty="0"/>
              <a:t>Wi-Fi</a:t>
            </a:r>
          </a:p>
          <a:p>
            <a:pPr algn="l">
              <a:spcBef>
                <a:spcPts val="800"/>
              </a:spcBef>
            </a:pPr>
            <a:r>
              <a:rPr lang="en-US" sz="1600" dirty="0"/>
              <a:t>Bluetooth</a:t>
            </a:r>
          </a:p>
          <a:p>
            <a:pPr algn="l">
              <a:spcBef>
                <a:spcPts val="800"/>
              </a:spcBef>
            </a:pPr>
            <a:endParaRPr lang="en-US" sz="1600" dirty="0"/>
          </a:p>
        </p:txBody>
      </p:sp>
      <p:sp>
        <p:nvSpPr>
          <p:cNvPr id="33" name="Speech Bubble: Rectangle with Corners Rounded 32">
            <a:extLst>
              <a:ext uri="{FF2B5EF4-FFF2-40B4-BE49-F238E27FC236}">
                <a16:creationId xmlns:a16="http://schemas.microsoft.com/office/drawing/2014/main" id="{44B68BE8-0D03-C0DE-FA2F-DF425C91C978}"/>
              </a:ext>
            </a:extLst>
          </p:cNvPr>
          <p:cNvSpPr/>
          <p:nvPr/>
        </p:nvSpPr>
        <p:spPr>
          <a:xfrm>
            <a:off x="551856" y="1644921"/>
            <a:ext cx="2279775" cy="1620672"/>
          </a:xfrm>
          <a:prstGeom prst="wedgeRoundRectCallout">
            <a:avLst>
              <a:gd name="adj1" fmla="val -7785"/>
              <a:gd name="adj2" fmla="val 82309"/>
              <a:gd name="adj3" fmla="val 1666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r>
              <a:rPr lang="en-US" sz="1600" dirty="0"/>
              <a:t>Applications</a:t>
            </a:r>
          </a:p>
          <a:p>
            <a:pPr algn="l">
              <a:spcBef>
                <a:spcPts val="800"/>
              </a:spcBef>
            </a:pPr>
            <a:r>
              <a:rPr lang="en-US" sz="1600" dirty="0"/>
              <a:t>Linux/Android</a:t>
            </a:r>
          </a:p>
          <a:p>
            <a:pPr algn="l">
              <a:spcBef>
                <a:spcPts val="800"/>
              </a:spcBef>
            </a:pPr>
            <a:r>
              <a:rPr lang="en-US" sz="1600" dirty="0"/>
              <a:t>AUTOSAR Adaptive</a:t>
            </a:r>
          </a:p>
          <a:p>
            <a:pPr algn="l">
              <a:spcBef>
                <a:spcPts val="800"/>
              </a:spcBef>
            </a:pPr>
            <a:r>
              <a:rPr lang="en-US" sz="1600" dirty="0"/>
              <a:t>Virtual Machines</a:t>
            </a:r>
          </a:p>
        </p:txBody>
      </p:sp>
      <p:sp>
        <p:nvSpPr>
          <p:cNvPr id="35" name="Isosceles Triangle 34">
            <a:extLst>
              <a:ext uri="{FF2B5EF4-FFF2-40B4-BE49-F238E27FC236}">
                <a16:creationId xmlns:a16="http://schemas.microsoft.com/office/drawing/2014/main" id="{7C6274F5-85DC-F363-7E4A-0B5049398BFA}"/>
              </a:ext>
            </a:extLst>
          </p:cNvPr>
          <p:cNvSpPr/>
          <p:nvPr/>
        </p:nvSpPr>
        <p:spPr>
          <a:xfrm rot="17096962">
            <a:off x="4082584" y="2600132"/>
            <a:ext cx="369427" cy="474629"/>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36" name="Isosceles Triangle 35">
            <a:extLst>
              <a:ext uri="{FF2B5EF4-FFF2-40B4-BE49-F238E27FC236}">
                <a16:creationId xmlns:a16="http://schemas.microsoft.com/office/drawing/2014/main" id="{2D065AA6-BFAE-0B21-6CF3-D1880FD1F533}"/>
              </a:ext>
            </a:extLst>
          </p:cNvPr>
          <p:cNvSpPr/>
          <p:nvPr/>
        </p:nvSpPr>
        <p:spPr>
          <a:xfrm rot="4503038" flipH="1">
            <a:off x="6703328" y="2576817"/>
            <a:ext cx="369427" cy="474629"/>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cxnSp>
        <p:nvCxnSpPr>
          <p:cNvPr id="37" name="Straight Arrow Connector 36">
            <a:extLst>
              <a:ext uri="{FF2B5EF4-FFF2-40B4-BE49-F238E27FC236}">
                <a16:creationId xmlns:a16="http://schemas.microsoft.com/office/drawing/2014/main" id="{D4ADDB68-4C03-86BA-3736-D893C62C89CB}"/>
              </a:ext>
            </a:extLst>
          </p:cNvPr>
          <p:cNvCxnSpPr>
            <a:cxnSpLocks/>
          </p:cNvCxnSpPr>
          <p:nvPr/>
        </p:nvCxnSpPr>
        <p:spPr>
          <a:xfrm flipH="1">
            <a:off x="3756317" y="4356211"/>
            <a:ext cx="4007765"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IAV Vehicle">
            <a:extLst>
              <a:ext uri="{FF2B5EF4-FFF2-40B4-BE49-F238E27FC236}">
                <a16:creationId xmlns:a16="http://schemas.microsoft.com/office/drawing/2014/main" id="{0E6953BF-A8A9-BD01-4C53-B215DCC24B65}"/>
              </a:ext>
            </a:extLst>
          </p:cNvPr>
          <p:cNvSpPr>
            <a:spLocks noChangeAspect="1" noEditPoints="1"/>
          </p:cNvSpPr>
          <p:nvPr/>
        </p:nvSpPr>
        <p:spPr bwMode="auto">
          <a:xfrm>
            <a:off x="719664" y="3776532"/>
            <a:ext cx="2917732" cy="1121569"/>
          </a:xfrm>
          <a:custGeom>
            <a:avLst/>
            <a:gdLst>
              <a:gd name="T0" fmla="*/ 652 w 783"/>
              <a:gd name="T1" fmla="*/ 176 h 301"/>
              <a:gd name="T2" fmla="*/ 590 w 783"/>
              <a:gd name="T3" fmla="*/ 238 h 301"/>
              <a:gd name="T4" fmla="*/ 652 w 783"/>
              <a:gd name="T5" fmla="*/ 301 h 301"/>
              <a:gd name="T6" fmla="*/ 715 w 783"/>
              <a:gd name="T7" fmla="*/ 238 h 301"/>
              <a:gd name="T8" fmla="*/ 652 w 783"/>
              <a:gd name="T9" fmla="*/ 176 h 301"/>
              <a:gd name="T10" fmla="*/ 652 w 783"/>
              <a:gd name="T11" fmla="*/ 278 h 301"/>
              <a:gd name="T12" fmla="*/ 613 w 783"/>
              <a:gd name="T13" fmla="*/ 238 h 301"/>
              <a:gd name="T14" fmla="*/ 652 w 783"/>
              <a:gd name="T15" fmla="*/ 199 h 301"/>
              <a:gd name="T16" fmla="*/ 692 w 783"/>
              <a:gd name="T17" fmla="*/ 238 h 301"/>
              <a:gd name="T18" fmla="*/ 652 w 783"/>
              <a:gd name="T19" fmla="*/ 278 h 301"/>
              <a:gd name="T20" fmla="*/ 142 w 783"/>
              <a:gd name="T21" fmla="*/ 176 h 301"/>
              <a:gd name="T22" fmla="*/ 80 w 783"/>
              <a:gd name="T23" fmla="*/ 238 h 301"/>
              <a:gd name="T24" fmla="*/ 142 w 783"/>
              <a:gd name="T25" fmla="*/ 301 h 301"/>
              <a:gd name="T26" fmla="*/ 204 w 783"/>
              <a:gd name="T27" fmla="*/ 238 h 301"/>
              <a:gd name="T28" fmla="*/ 142 w 783"/>
              <a:gd name="T29" fmla="*/ 176 h 301"/>
              <a:gd name="T30" fmla="*/ 142 w 783"/>
              <a:gd name="T31" fmla="*/ 278 h 301"/>
              <a:gd name="T32" fmla="*/ 102 w 783"/>
              <a:gd name="T33" fmla="*/ 238 h 301"/>
              <a:gd name="T34" fmla="*/ 142 w 783"/>
              <a:gd name="T35" fmla="*/ 199 h 301"/>
              <a:gd name="T36" fmla="*/ 182 w 783"/>
              <a:gd name="T37" fmla="*/ 238 h 301"/>
              <a:gd name="T38" fmla="*/ 142 w 783"/>
              <a:gd name="T39" fmla="*/ 278 h 301"/>
              <a:gd name="T40" fmla="*/ 572 w 783"/>
              <a:gd name="T41" fmla="*/ 89 h 301"/>
              <a:gd name="T42" fmla="*/ 543 w 783"/>
              <a:gd name="T43" fmla="*/ 73 h 301"/>
              <a:gd name="T44" fmla="*/ 415 w 783"/>
              <a:gd name="T45" fmla="*/ 17 h 301"/>
              <a:gd name="T46" fmla="*/ 176 w 783"/>
              <a:gd name="T47" fmla="*/ 50 h 301"/>
              <a:gd name="T48" fmla="*/ 39 w 783"/>
              <a:gd name="T49" fmla="*/ 88 h 301"/>
              <a:gd name="T50" fmla="*/ 35 w 783"/>
              <a:gd name="T51" fmla="*/ 90 h 301"/>
              <a:gd name="T52" fmla="*/ 0 w 783"/>
              <a:gd name="T53" fmla="*/ 250 h 301"/>
              <a:gd name="T54" fmla="*/ 6 w 783"/>
              <a:gd name="T55" fmla="*/ 256 h 301"/>
              <a:gd name="T56" fmla="*/ 71 w 783"/>
              <a:gd name="T57" fmla="*/ 256 h 301"/>
              <a:gd name="T58" fmla="*/ 68 w 783"/>
              <a:gd name="T59" fmla="*/ 238 h 301"/>
              <a:gd name="T60" fmla="*/ 142 w 783"/>
              <a:gd name="T61" fmla="*/ 165 h 301"/>
              <a:gd name="T62" fmla="*/ 216 w 783"/>
              <a:gd name="T63" fmla="*/ 238 h 301"/>
              <a:gd name="T64" fmla="*/ 213 w 783"/>
              <a:gd name="T65" fmla="*/ 257 h 301"/>
              <a:gd name="T66" fmla="*/ 582 w 783"/>
              <a:gd name="T67" fmla="*/ 260 h 301"/>
              <a:gd name="T68" fmla="*/ 579 w 783"/>
              <a:gd name="T69" fmla="*/ 238 h 301"/>
              <a:gd name="T70" fmla="*/ 652 w 783"/>
              <a:gd name="T71" fmla="*/ 165 h 301"/>
              <a:gd name="T72" fmla="*/ 726 w 783"/>
              <a:gd name="T73" fmla="*/ 238 h 301"/>
              <a:gd name="T74" fmla="*/ 723 w 783"/>
              <a:gd name="T75" fmla="*/ 261 h 301"/>
              <a:gd name="T76" fmla="*/ 777 w 783"/>
              <a:gd name="T77" fmla="*/ 261 h 301"/>
              <a:gd name="T78" fmla="*/ 777 w 783"/>
              <a:gd name="T79" fmla="*/ 261 h 301"/>
              <a:gd name="T80" fmla="*/ 781 w 783"/>
              <a:gd name="T81" fmla="*/ 259 h 301"/>
              <a:gd name="T82" fmla="*/ 783 w 783"/>
              <a:gd name="T83" fmla="*/ 255 h 301"/>
              <a:gd name="T84" fmla="*/ 572 w 783"/>
              <a:gd name="T85" fmla="*/ 89 h 301"/>
              <a:gd name="T86" fmla="*/ 505 w 783"/>
              <a:gd name="T87" fmla="*/ 108 h 301"/>
              <a:gd name="T88" fmla="*/ 165 w 783"/>
              <a:gd name="T89" fmla="*/ 88 h 301"/>
              <a:gd name="T90" fmla="*/ 369 w 783"/>
              <a:gd name="T91" fmla="*/ 29 h 301"/>
              <a:gd name="T92" fmla="*/ 505 w 783"/>
              <a:gd name="T93" fmla="*/ 108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83" h="301">
                <a:moveTo>
                  <a:pt x="652" y="176"/>
                </a:moveTo>
                <a:cubicBezTo>
                  <a:pt x="618" y="176"/>
                  <a:pt x="590" y="204"/>
                  <a:pt x="590" y="238"/>
                </a:cubicBezTo>
                <a:cubicBezTo>
                  <a:pt x="590" y="273"/>
                  <a:pt x="618" y="301"/>
                  <a:pt x="652" y="301"/>
                </a:cubicBezTo>
                <a:cubicBezTo>
                  <a:pt x="687" y="301"/>
                  <a:pt x="715" y="273"/>
                  <a:pt x="715" y="238"/>
                </a:cubicBezTo>
                <a:cubicBezTo>
                  <a:pt x="715" y="204"/>
                  <a:pt x="687" y="176"/>
                  <a:pt x="652" y="176"/>
                </a:cubicBezTo>
                <a:close/>
                <a:moveTo>
                  <a:pt x="652" y="278"/>
                </a:moveTo>
                <a:cubicBezTo>
                  <a:pt x="630" y="278"/>
                  <a:pt x="613" y="260"/>
                  <a:pt x="613" y="238"/>
                </a:cubicBezTo>
                <a:cubicBezTo>
                  <a:pt x="613" y="217"/>
                  <a:pt x="630" y="199"/>
                  <a:pt x="652" y="199"/>
                </a:cubicBezTo>
                <a:cubicBezTo>
                  <a:pt x="674" y="199"/>
                  <a:pt x="692" y="217"/>
                  <a:pt x="692" y="238"/>
                </a:cubicBezTo>
                <a:cubicBezTo>
                  <a:pt x="692" y="260"/>
                  <a:pt x="674" y="278"/>
                  <a:pt x="652" y="278"/>
                </a:cubicBezTo>
                <a:close/>
                <a:moveTo>
                  <a:pt x="142" y="176"/>
                </a:moveTo>
                <a:cubicBezTo>
                  <a:pt x="108" y="176"/>
                  <a:pt x="80" y="204"/>
                  <a:pt x="80" y="238"/>
                </a:cubicBezTo>
                <a:cubicBezTo>
                  <a:pt x="80" y="273"/>
                  <a:pt x="108" y="301"/>
                  <a:pt x="142" y="301"/>
                </a:cubicBezTo>
                <a:cubicBezTo>
                  <a:pt x="176" y="301"/>
                  <a:pt x="204" y="273"/>
                  <a:pt x="204" y="238"/>
                </a:cubicBezTo>
                <a:cubicBezTo>
                  <a:pt x="204" y="204"/>
                  <a:pt x="176" y="176"/>
                  <a:pt x="142" y="176"/>
                </a:cubicBezTo>
                <a:close/>
                <a:moveTo>
                  <a:pt x="142" y="278"/>
                </a:moveTo>
                <a:cubicBezTo>
                  <a:pt x="120" y="278"/>
                  <a:pt x="102" y="260"/>
                  <a:pt x="102" y="238"/>
                </a:cubicBezTo>
                <a:cubicBezTo>
                  <a:pt x="102" y="217"/>
                  <a:pt x="120" y="199"/>
                  <a:pt x="142" y="199"/>
                </a:cubicBezTo>
                <a:cubicBezTo>
                  <a:pt x="164" y="199"/>
                  <a:pt x="182" y="217"/>
                  <a:pt x="182" y="238"/>
                </a:cubicBezTo>
                <a:cubicBezTo>
                  <a:pt x="182" y="260"/>
                  <a:pt x="164" y="278"/>
                  <a:pt x="142" y="278"/>
                </a:cubicBezTo>
                <a:close/>
                <a:moveTo>
                  <a:pt x="572" y="89"/>
                </a:moveTo>
                <a:cubicBezTo>
                  <a:pt x="568" y="88"/>
                  <a:pt x="557" y="81"/>
                  <a:pt x="543" y="73"/>
                </a:cubicBezTo>
                <a:cubicBezTo>
                  <a:pt x="512" y="55"/>
                  <a:pt x="466" y="28"/>
                  <a:pt x="415" y="17"/>
                </a:cubicBezTo>
                <a:cubicBezTo>
                  <a:pt x="332" y="0"/>
                  <a:pt x="260" y="23"/>
                  <a:pt x="176" y="50"/>
                </a:cubicBezTo>
                <a:cubicBezTo>
                  <a:pt x="133" y="64"/>
                  <a:pt x="89" y="78"/>
                  <a:pt x="39" y="88"/>
                </a:cubicBezTo>
                <a:cubicBezTo>
                  <a:pt x="37" y="88"/>
                  <a:pt x="36" y="89"/>
                  <a:pt x="35" y="90"/>
                </a:cubicBezTo>
                <a:cubicBezTo>
                  <a:pt x="34" y="93"/>
                  <a:pt x="0" y="146"/>
                  <a:pt x="0" y="250"/>
                </a:cubicBezTo>
                <a:cubicBezTo>
                  <a:pt x="0" y="253"/>
                  <a:pt x="3" y="256"/>
                  <a:pt x="6" y="256"/>
                </a:cubicBezTo>
                <a:cubicBezTo>
                  <a:pt x="71" y="256"/>
                  <a:pt x="71" y="256"/>
                  <a:pt x="71" y="256"/>
                </a:cubicBezTo>
                <a:cubicBezTo>
                  <a:pt x="69" y="251"/>
                  <a:pt x="68" y="245"/>
                  <a:pt x="68" y="238"/>
                </a:cubicBezTo>
                <a:cubicBezTo>
                  <a:pt x="68" y="198"/>
                  <a:pt x="101" y="165"/>
                  <a:pt x="142" y="165"/>
                </a:cubicBezTo>
                <a:cubicBezTo>
                  <a:pt x="183" y="165"/>
                  <a:pt x="216" y="198"/>
                  <a:pt x="216" y="238"/>
                </a:cubicBezTo>
                <a:cubicBezTo>
                  <a:pt x="216" y="245"/>
                  <a:pt x="215" y="251"/>
                  <a:pt x="213" y="257"/>
                </a:cubicBezTo>
                <a:cubicBezTo>
                  <a:pt x="582" y="260"/>
                  <a:pt x="582" y="260"/>
                  <a:pt x="582" y="260"/>
                </a:cubicBezTo>
                <a:cubicBezTo>
                  <a:pt x="580" y="253"/>
                  <a:pt x="579" y="246"/>
                  <a:pt x="579" y="238"/>
                </a:cubicBezTo>
                <a:cubicBezTo>
                  <a:pt x="579" y="198"/>
                  <a:pt x="612" y="165"/>
                  <a:pt x="652" y="165"/>
                </a:cubicBezTo>
                <a:cubicBezTo>
                  <a:pt x="693" y="165"/>
                  <a:pt x="726" y="198"/>
                  <a:pt x="726" y="238"/>
                </a:cubicBezTo>
                <a:cubicBezTo>
                  <a:pt x="726" y="246"/>
                  <a:pt x="725" y="254"/>
                  <a:pt x="723" y="261"/>
                </a:cubicBezTo>
                <a:cubicBezTo>
                  <a:pt x="777" y="261"/>
                  <a:pt x="777" y="261"/>
                  <a:pt x="777" y="261"/>
                </a:cubicBezTo>
                <a:cubicBezTo>
                  <a:pt x="777" y="261"/>
                  <a:pt x="777" y="261"/>
                  <a:pt x="777" y="261"/>
                </a:cubicBezTo>
                <a:cubicBezTo>
                  <a:pt x="778" y="261"/>
                  <a:pt x="780" y="261"/>
                  <a:pt x="781" y="259"/>
                </a:cubicBezTo>
                <a:cubicBezTo>
                  <a:pt x="782" y="258"/>
                  <a:pt x="783" y="257"/>
                  <a:pt x="783" y="255"/>
                </a:cubicBezTo>
                <a:cubicBezTo>
                  <a:pt x="783" y="147"/>
                  <a:pt x="766" y="122"/>
                  <a:pt x="572" y="89"/>
                </a:cubicBezTo>
                <a:close/>
                <a:moveTo>
                  <a:pt x="505" y="108"/>
                </a:moveTo>
                <a:cubicBezTo>
                  <a:pt x="459" y="119"/>
                  <a:pt x="165" y="88"/>
                  <a:pt x="165" y="88"/>
                </a:cubicBezTo>
                <a:cubicBezTo>
                  <a:pt x="165" y="88"/>
                  <a:pt x="279" y="29"/>
                  <a:pt x="369" y="29"/>
                </a:cubicBezTo>
                <a:cubicBezTo>
                  <a:pt x="449" y="29"/>
                  <a:pt x="546" y="98"/>
                  <a:pt x="505" y="1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nvGrpSpPr>
          <p:cNvPr id="14" name="easyIcon">
            <a:extLst>
              <a:ext uri="{FF2B5EF4-FFF2-40B4-BE49-F238E27FC236}">
                <a16:creationId xmlns:a16="http://schemas.microsoft.com/office/drawing/2014/main" id="{1ED9F7CE-C2B4-FC21-106E-A62F4E2D3EA3}"/>
              </a:ext>
            </a:extLst>
          </p:cNvPr>
          <p:cNvGrpSpPr>
            <a:grpSpLocks noChangeAspect="1"/>
          </p:cNvGrpSpPr>
          <p:nvPr>
            <p:custDataLst>
              <p:tags r:id="rId1"/>
            </p:custDataLst>
          </p:nvPr>
        </p:nvGrpSpPr>
        <p:grpSpPr>
          <a:xfrm>
            <a:off x="3503460" y="-432321"/>
            <a:ext cx="4525036" cy="4525036"/>
            <a:chOff x="264263" y="4620411"/>
            <a:chExt cx="1524000" cy="1524000"/>
          </a:xfrm>
        </p:grpSpPr>
        <p:sp>
          <p:nvSpPr>
            <p:cNvPr id="18" name="backgroundFixed">
              <a:extLst>
                <a:ext uri="{FF2B5EF4-FFF2-40B4-BE49-F238E27FC236}">
                  <a16:creationId xmlns:a16="http://schemas.microsoft.com/office/drawing/2014/main" id="{8DCC7189-5FFA-4C16-F09F-86B9161A5C90}"/>
                </a:ext>
              </a:extLst>
            </p:cNvPr>
            <p:cNvSpPr/>
            <p:nvPr>
              <p:custDataLst>
                <p:tags r:id="rId4"/>
              </p:custDataLst>
            </p:nvPr>
          </p:nvSpPr>
          <p:spPr>
            <a:xfrm>
              <a:off x="264263" y="4620411"/>
              <a:ext cx="1524000" cy="152400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19" name="Vector">
              <a:extLst>
                <a:ext uri="{FF2B5EF4-FFF2-40B4-BE49-F238E27FC236}">
                  <a16:creationId xmlns:a16="http://schemas.microsoft.com/office/drawing/2014/main" id="{D6C12FBD-355E-FA29-C5B0-171B85C58D9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bwMode="gray">
            <a:xfrm>
              <a:off x="264263" y="4620411"/>
              <a:ext cx="1524000" cy="1524000"/>
            </a:xfrm>
            <a:prstGeom prst="rect">
              <a:avLst/>
            </a:prstGeom>
          </p:spPr>
        </p:pic>
      </p:grpSp>
      <p:grpSp>
        <p:nvGrpSpPr>
          <p:cNvPr id="20" name="easyIcon">
            <a:extLst>
              <a:ext uri="{FF2B5EF4-FFF2-40B4-BE49-F238E27FC236}">
                <a16:creationId xmlns:a16="http://schemas.microsoft.com/office/drawing/2014/main" id="{F479C514-5FC2-4163-3514-AB810E691E65}"/>
              </a:ext>
            </a:extLst>
          </p:cNvPr>
          <p:cNvGrpSpPr>
            <a:grpSpLocks noChangeAspect="1"/>
          </p:cNvGrpSpPr>
          <p:nvPr>
            <p:custDataLst>
              <p:tags r:id="rId2"/>
            </p:custDataLst>
          </p:nvPr>
        </p:nvGrpSpPr>
        <p:grpSpPr>
          <a:xfrm>
            <a:off x="8028496" y="2628019"/>
            <a:ext cx="2663988" cy="2663988"/>
            <a:chOff x="5925840" y="4248419"/>
            <a:chExt cx="720000" cy="720000"/>
          </a:xfrm>
        </p:grpSpPr>
        <p:sp>
          <p:nvSpPr>
            <p:cNvPr id="22" name="backgroundFixed">
              <a:extLst>
                <a:ext uri="{FF2B5EF4-FFF2-40B4-BE49-F238E27FC236}">
                  <a16:creationId xmlns:a16="http://schemas.microsoft.com/office/drawing/2014/main" id="{80DA1FB2-AF07-D956-D12F-6EC53C94D19D}"/>
                </a:ext>
              </a:extLst>
            </p:cNvPr>
            <p:cNvSpPr/>
            <p:nvPr>
              <p:custDataLst>
                <p:tags r:id="rId3"/>
              </p:custDataLst>
            </p:nvPr>
          </p:nvSpPr>
          <p:spPr>
            <a:xfrm>
              <a:off x="5925840" y="4248419"/>
              <a:ext cx="720000" cy="72000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23" name="Vector">
              <a:extLst>
                <a:ext uri="{FF2B5EF4-FFF2-40B4-BE49-F238E27FC236}">
                  <a16:creationId xmlns:a16="http://schemas.microsoft.com/office/drawing/2014/main" id="{D6236C90-B5FC-8BA1-7EF9-7ED913851CF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bwMode="gray">
            <a:xfrm>
              <a:off x="5925840" y="4248419"/>
              <a:ext cx="720000" cy="720000"/>
            </a:xfrm>
            <a:prstGeom prst="rect">
              <a:avLst/>
            </a:prstGeom>
          </p:spPr>
        </p:pic>
      </p:grpSp>
    </p:spTree>
    <p:extLst>
      <p:ext uri="{BB962C8B-B14F-4D97-AF65-F5344CB8AC3E}">
        <p14:creationId xmlns:p14="http://schemas.microsoft.com/office/powerpoint/2010/main" val="21433682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ASYID" val="1e8d2e1a-1903-49e9-ab19-7e2848d53996"/>
  <p:tag name="DEFAULTLANGUAGEID" val="1033"/>
  <p:tag name="EASYMASTER" val="IAV"/>
  <p:tag name="SHOWAGENDASLIDENUMBER" val="no"/>
</p:tagLst>
</file>

<file path=ppt/tags/tag10.xml><?xml version="1.0" encoding="utf-8"?>
<p:tagLst xmlns:a="http://schemas.openxmlformats.org/drawingml/2006/main" xmlns:r="http://schemas.openxmlformats.org/officeDocument/2006/relationships" xmlns:p="http://schemas.openxmlformats.org/presentationml/2006/main">
  <p:tag name="ICONSECONDCOLOR" val="16777215"/>
  <p:tag name="EASYCOUNT" val=";147.;148.;148.;363.;364.;182."/>
</p:tagLst>
</file>

<file path=ppt/tags/tag11.xml><?xml version="1.0" encoding="utf-8"?>
<p:tagLst xmlns:a="http://schemas.openxmlformats.org/drawingml/2006/main" xmlns:r="http://schemas.openxmlformats.org/officeDocument/2006/relationships" xmlns:p="http://schemas.openxmlformats.org/presentationml/2006/main">
  <p:tag name="ICONSECONDCOLOR" val="16777215"/>
  <p:tag name="EASYCOUNT" val=";127.;128.;128.;323.;324.;162."/>
</p:tagLst>
</file>

<file path=ppt/tags/tag12.xml><?xml version="1.0" encoding="utf-8"?>
<p:tagLst xmlns:a="http://schemas.openxmlformats.org/drawingml/2006/main" xmlns:r="http://schemas.openxmlformats.org/officeDocument/2006/relationships" xmlns:p="http://schemas.openxmlformats.org/presentationml/2006/main">
  <p:tag name="EASYCOUNT" val=";166."/>
</p:tagLst>
</file>

<file path=ppt/tags/tag13.xml><?xml version="1.0" encoding="utf-8"?>
<p:tagLst xmlns:a="http://schemas.openxmlformats.org/drawingml/2006/main" xmlns:r="http://schemas.openxmlformats.org/officeDocument/2006/relationships" xmlns:p="http://schemas.openxmlformats.org/presentationml/2006/main">
  <p:tag name="EASYCOUNT" val=";29."/>
</p:tagLst>
</file>

<file path=ppt/tags/tag14.xml><?xml version="1.0" encoding="utf-8"?>
<p:tagLst xmlns:a="http://schemas.openxmlformats.org/drawingml/2006/main" xmlns:r="http://schemas.openxmlformats.org/officeDocument/2006/relationships" xmlns:p="http://schemas.openxmlformats.org/presentationml/2006/main">
  <p:tag name="EASYCOUNT" val=";222.;223.;223.;591.;592.;295."/>
  <p:tag name="ICONSECONDCOLOR" val="0"/>
</p:tagLst>
</file>

<file path=ppt/tags/tag15.xml><?xml version="1.0" encoding="utf-8"?>
<p:tagLst xmlns:a="http://schemas.openxmlformats.org/drawingml/2006/main" xmlns:r="http://schemas.openxmlformats.org/officeDocument/2006/relationships" xmlns:p="http://schemas.openxmlformats.org/presentationml/2006/main">
  <p:tag name="EASYCOUNT" val=";296.;297.;297.;761.;762.;379."/>
  <p:tag name="ICONSECONDCOLOR" val="0"/>
</p:tagLst>
</file>

<file path=ppt/tags/tag16.xml><?xml version="1.0" encoding="utf-8"?>
<p:tagLst xmlns:a="http://schemas.openxmlformats.org/drawingml/2006/main" xmlns:r="http://schemas.openxmlformats.org/officeDocument/2006/relationships" xmlns:p="http://schemas.openxmlformats.org/presentationml/2006/main">
  <p:tag name="EASYCOUNT" val=";29."/>
</p:tagLst>
</file>

<file path=ppt/tags/tag17.xml><?xml version="1.0" encoding="utf-8"?>
<p:tagLst xmlns:a="http://schemas.openxmlformats.org/drawingml/2006/main" xmlns:r="http://schemas.openxmlformats.org/officeDocument/2006/relationships" xmlns:p="http://schemas.openxmlformats.org/presentationml/2006/main">
  <p:tag name="EASYCOUNT" val=";291.;292.;292.;751.;752.;374."/>
  <p:tag name="ICONSECONDCOLOR" val="0"/>
</p:tagLst>
</file>

<file path=ppt/tags/tag18.xml><?xml version="1.0" encoding="utf-8"?>
<p:tagLst xmlns:a="http://schemas.openxmlformats.org/drawingml/2006/main" xmlns:r="http://schemas.openxmlformats.org/officeDocument/2006/relationships" xmlns:p="http://schemas.openxmlformats.org/presentationml/2006/main">
  <p:tag name="EASYCOUNT" val=";374."/>
</p:tagLst>
</file>

<file path=ppt/tags/tag19.xml><?xml version="1.0" encoding="utf-8"?>
<p:tagLst xmlns:a="http://schemas.openxmlformats.org/drawingml/2006/main" xmlns:r="http://schemas.openxmlformats.org/officeDocument/2006/relationships" xmlns:p="http://schemas.openxmlformats.org/presentationml/2006/main">
  <p:tag name="EASYCOUNT" val=";37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ASYCOUNT" val=";295."/>
</p:tagLst>
</file>

<file path=ppt/tags/tag21.xml><?xml version="1.0" encoding="utf-8"?>
<p:tagLst xmlns:a="http://schemas.openxmlformats.org/drawingml/2006/main" xmlns:r="http://schemas.openxmlformats.org/officeDocument/2006/relationships" xmlns:p="http://schemas.openxmlformats.org/presentationml/2006/main">
  <p:tag name="EASYCOUNT" val=";162."/>
</p:tagLst>
</file>

<file path=ppt/tags/tag22.xml><?xml version="1.0" encoding="utf-8"?>
<p:tagLst xmlns:a="http://schemas.openxmlformats.org/drawingml/2006/main" xmlns:r="http://schemas.openxmlformats.org/officeDocument/2006/relationships" xmlns:p="http://schemas.openxmlformats.org/presentationml/2006/main">
  <p:tag name="EASYCOUNT" val=";182."/>
</p:tagLst>
</file>

<file path=ppt/tags/tag23.xml><?xml version="1.0" encoding="utf-8"?>
<p:tagLst xmlns:a="http://schemas.openxmlformats.org/drawingml/2006/main" xmlns:r="http://schemas.openxmlformats.org/officeDocument/2006/relationships" xmlns:p="http://schemas.openxmlformats.org/presentationml/2006/main">
  <p:tag name="EASYCOUNT" val=";1."/>
</p:tagLst>
</file>

<file path=ppt/tags/tag24.xml><?xml version="1.0" encoding="utf-8"?>
<p:tagLst xmlns:a="http://schemas.openxmlformats.org/drawingml/2006/main" xmlns:r="http://schemas.openxmlformats.org/officeDocument/2006/relationships" xmlns:p="http://schemas.openxmlformats.org/presentationml/2006/main">
  <p:tag name="EASYCOUNT" val=";21."/>
  <p:tag name="TOP" val="304,2943"/>
  <p:tag name="LEFT" val="120,8161"/>
</p:tagLst>
</file>

<file path=ppt/tags/tag25.xml><?xml version="1.0" encoding="utf-8"?>
<p:tagLst xmlns:a="http://schemas.openxmlformats.org/drawingml/2006/main" xmlns:r="http://schemas.openxmlformats.org/officeDocument/2006/relationships" xmlns:p="http://schemas.openxmlformats.org/presentationml/2006/main">
  <p:tag name="EASYCOUNT" val=";221."/>
</p:tagLst>
</file>

<file path=ppt/tags/tag26.xml><?xml version="1.0" encoding="utf-8"?>
<p:tagLst xmlns:a="http://schemas.openxmlformats.org/drawingml/2006/main" xmlns:r="http://schemas.openxmlformats.org/officeDocument/2006/relationships" xmlns:p="http://schemas.openxmlformats.org/presentationml/2006/main">
  <p:tag name="ICONSECONDCOLOR" val="16777215"/>
  <p:tag name="EASYCOUNT" val=";259.;260.;260.;666.;667.;332."/>
</p:tagLst>
</file>

<file path=ppt/tags/tag27.xml><?xml version="1.0" encoding="utf-8"?>
<p:tagLst xmlns:a="http://schemas.openxmlformats.org/drawingml/2006/main" xmlns:r="http://schemas.openxmlformats.org/officeDocument/2006/relationships" xmlns:p="http://schemas.openxmlformats.org/presentationml/2006/main">
  <p:tag name="ICONSECONDCOLOR" val="16777215"/>
  <p:tag name="EASYCOUNT" val=";188.;189.;189.;523.;524.;261."/>
</p:tagLst>
</file>

<file path=ppt/tags/tag28.xml><?xml version="1.0" encoding="utf-8"?>
<p:tagLst xmlns:a="http://schemas.openxmlformats.org/drawingml/2006/main" xmlns:r="http://schemas.openxmlformats.org/officeDocument/2006/relationships" xmlns:p="http://schemas.openxmlformats.org/presentationml/2006/main">
  <p:tag name="EASYCOUNT" val=";261."/>
</p:tagLst>
</file>

<file path=ppt/tags/tag29.xml><?xml version="1.0" encoding="utf-8"?>
<p:tagLst xmlns:a="http://schemas.openxmlformats.org/drawingml/2006/main" xmlns:r="http://schemas.openxmlformats.org/officeDocument/2006/relationships" xmlns:p="http://schemas.openxmlformats.org/presentationml/2006/main">
  <p:tag name="EASYCOUNT" val=";332."/>
</p:tagLst>
</file>

<file path=ppt/tags/tag3.xml><?xml version="1.0" encoding="utf-8"?>
<p:tagLst xmlns:a="http://schemas.openxmlformats.org/drawingml/2006/main" xmlns:r="http://schemas.openxmlformats.org/officeDocument/2006/relationships" xmlns:p="http://schemas.openxmlformats.org/presentationml/2006/main">
  <p:tag name="SYNOPSYS-SHAPE" val="Y"/>
</p:tagLst>
</file>

<file path=ppt/tags/tag30.xml><?xml version="1.0" encoding="utf-8"?>
<p:tagLst xmlns:a="http://schemas.openxmlformats.org/drawingml/2006/main" xmlns:r="http://schemas.openxmlformats.org/officeDocument/2006/relationships" xmlns:p="http://schemas.openxmlformats.org/presentationml/2006/main">
  <p:tag name="ICONSECONDCOLOR" val="16777215"/>
  <p:tag name="EASYCOUNT" val=";259.;260.;260.;666.;667.;332."/>
</p:tagLst>
</file>

<file path=ppt/tags/tag31.xml><?xml version="1.0" encoding="utf-8"?>
<p:tagLst xmlns:a="http://schemas.openxmlformats.org/drawingml/2006/main" xmlns:r="http://schemas.openxmlformats.org/officeDocument/2006/relationships" xmlns:p="http://schemas.openxmlformats.org/presentationml/2006/main">
  <p:tag name="ICONSECONDCOLOR" val="16777215"/>
  <p:tag name="EASYCOUNT" val=";188.;189.;189.;523.;524.;261."/>
</p:tagLst>
</file>

<file path=ppt/tags/tag32.xml><?xml version="1.0" encoding="utf-8"?>
<p:tagLst xmlns:a="http://schemas.openxmlformats.org/drawingml/2006/main" xmlns:r="http://schemas.openxmlformats.org/officeDocument/2006/relationships" xmlns:p="http://schemas.openxmlformats.org/presentationml/2006/main">
  <p:tag name="EASYCOUNT" val=";261."/>
</p:tagLst>
</file>

<file path=ppt/tags/tag33.xml><?xml version="1.0" encoding="utf-8"?>
<p:tagLst xmlns:a="http://schemas.openxmlformats.org/drawingml/2006/main" xmlns:r="http://schemas.openxmlformats.org/officeDocument/2006/relationships" xmlns:p="http://schemas.openxmlformats.org/presentationml/2006/main">
  <p:tag name="EASYCOUNT" val=";332."/>
</p:tagLst>
</file>

<file path=ppt/tags/tag34.xml><?xml version="1.0" encoding="utf-8"?>
<p:tagLst xmlns:a="http://schemas.openxmlformats.org/drawingml/2006/main" xmlns:r="http://schemas.openxmlformats.org/officeDocument/2006/relationships" xmlns:p="http://schemas.openxmlformats.org/presentationml/2006/main">
  <p:tag name="EASYCOUNT" val=";116.;991.;493."/>
</p:tagLst>
</file>

<file path=ppt/tags/tag35.xml><?xml version="1.0" encoding="utf-8"?>
<p:tagLst xmlns:a="http://schemas.openxmlformats.org/drawingml/2006/main" xmlns:r="http://schemas.openxmlformats.org/officeDocument/2006/relationships" xmlns:p="http://schemas.openxmlformats.org/presentationml/2006/main">
  <p:tag name="ICONSECONDCOLOR" val="16777215"/>
  <p:tag name="EASYCOUNT" val=";103.;104.;104.;255.;256.;127."/>
</p:tagLst>
</file>

<file path=ppt/tags/tag36.xml><?xml version="1.0" encoding="utf-8"?>
<p:tagLst xmlns:a="http://schemas.openxmlformats.org/drawingml/2006/main" xmlns:r="http://schemas.openxmlformats.org/officeDocument/2006/relationships" xmlns:p="http://schemas.openxmlformats.org/presentationml/2006/main">
  <p:tag name="ICONSECONDCOLOR" val="16777215"/>
  <p:tag name="EASYCOUNT" val=";242.;243.;243.;632.;633.;315."/>
</p:tagLst>
</file>

<file path=ppt/tags/tag37.xml><?xml version="1.0" encoding="utf-8"?>
<p:tagLst xmlns:a="http://schemas.openxmlformats.org/drawingml/2006/main" xmlns:r="http://schemas.openxmlformats.org/officeDocument/2006/relationships" xmlns:p="http://schemas.openxmlformats.org/presentationml/2006/main">
  <p:tag name="ICONSECONDCOLOR" val="16777215"/>
  <p:tag name="EASYCOUNT" val=";38.;38.;38.;76.;77.;39."/>
</p:tagLst>
</file>

<file path=ppt/tags/tag38.xml><?xml version="1.0" encoding="utf-8"?>
<p:tagLst xmlns:a="http://schemas.openxmlformats.org/drawingml/2006/main" xmlns:r="http://schemas.openxmlformats.org/officeDocument/2006/relationships" xmlns:p="http://schemas.openxmlformats.org/presentationml/2006/main">
  <p:tag name="ICONSECONDCOLOR" val="16777215"/>
  <p:tag name="EASYCOUNT" val=";220.;221.;221.;587.;588.;293."/>
</p:tagLst>
</file>

<file path=ppt/tags/tag39.xml><?xml version="1.0" encoding="utf-8"?>
<p:tagLst xmlns:a="http://schemas.openxmlformats.org/drawingml/2006/main" xmlns:r="http://schemas.openxmlformats.org/officeDocument/2006/relationships" xmlns:p="http://schemas.openxmlformats.org/presentationml/2006/main">
  <p:tag name="EASYCOUNT" val=";293."/>
</p:tagLst>
</file>

<file path=ppt/tags/tag4.xml><?xml version="1.0" encoding="utf-8"?>
<p:tagLst xmlns:a="http://schemas.openxmlformats.org/drawingml/2006/main" xmlns:r="http://schemas.openxmlformats.org/officeDocument/2006/relationships" xmlns:p="http://schemas.openxmlformats.org/presentationml/2006/main">
  <p:tag name="SYNOPSYS-SHAPE" val="Y"/>
</p:tagLst>
</file>

<file path=ppt/tags/tag40.xml><?xml version="1.0" encoding="utf-8"?>
<p:tagLst xmlns:a="http://schemas.openxmlformats.org/drawingml/2006/main" xmlns:r="http://schemas.openxmlformats.org/officeDocument/2006/relationships" xmlns:p="http://schemas.openxmlformats.org/presentationml/2006/main">
  <p:tag name="EASYCOUNT" val=";39."/>
</p:tagLst>
</file>

<file path=ppt/tags/tag41.xml><?xml version="1.0" encoding="utf-8"?>
<p:tagLst xmlns:a="http://schemas.openxmlformats.org/drawingml/2006/main" xmlns:r="http://schemas.openxmlformats.org/officeDocument/2006/relationships" xmlns:p="http://schemas.openxmlformats.org/presentationml/2006/main">
  <p:tag name="EASYCOUNT" val=";315."/>
</p:tagLst>
</file>

<file path=ppt/tags/tag42.xml><?xml version="1.0" encoding="utf-8"?>
<p:tagLst xmlns:a="http://schemas.openxmlformats.org/drawingml/2006/main" xmlns:r="http://schemas.openxmlformats.org/officeDocument/2006/relationships" xmlns:p="http://schemas.openxmlformats.org/presentationml/2006/main">
  <p:tag name="EASYCOUNT" val=";127."/>
</p:tagLst>
</file>

<file path=ppt/tags/tag43.xml><?xml version="1.0" encoding="utf-8"?>
<p:tagLst xmlns:a="http://schemas.openxmlformats.org/drawingml/2006/main" xmlns:r="http://schemas.openxmlformats.org/officeDocument/2006/relationships" xmlns:p="http://schemas.openxmlformats.org/presentationml/2006/main">
  <p:tag name="EASYCOUNT" val=";493."/>
</p:tagLst>
</file>

<file path=ppt/tags/tag44.xml><?xml version="1.0" encoding="utf-8"?>
<p:tagLst xmlns:a="http://schemas.openxmlformats.org/drawingml/2006/main" xmlns:r="http://schemas.openxmlformats.org/officeDocument/2006/relationships" xmlns:p="http://schemas.openxmlformats.org/presentationml/2006/main">
  <p:tag name="ICONSECONDCOLOR" val="16777215"/>
  <p:tag name="EASYCOUNT" val=";259.;260.;260.;666.;667.;332."/>
</p:tagLst>
</file>

<file path=ppt/tags/tag45.xml><?xml version="1.0" encoding="utf-8"?>
<p:tagLst xmlns:a="http://schemas.openxmlformats.org/drawingml/2006/main" xmlns:r="http://schemas.openxmlformats.org/officeDocument/2006/relationships" xmlns:p="http://schemas.openxmlformats.org/presentationml/2006/main">
  <p:tag name="ICONSECONDCOLOR" val="16777215"/>
  <p:tag name="EASYCOUNT" val=";86.;732.;733.;364."/>
</p:tagLst>
</file>

<file path=ppt/tags/tag46.xml><?xml version="1.0" encoding="utf-8"?>
<p:tagLst xmlns:a="http://schemas.openxmlformats.org/drawingml/2006/main" xmlns:r="http://schemas.openxmlformats.org/officeDocument/2006/relationships" xmlns:p="http://schemas.openxmlformats.org/presentationml/2006/main">
  <p:tag name="ICONSECONDCOLOR" val="16777215"/>
  <p:tag name="EASYCOUNT" val=";157.;158.;158.;383.;384.;192."/>
</p:tagLst>
</file>

<file path=ppt/tags/tag47.xml><?xml version="1.0" encoding="utf-8"?>
<p:tagLst xmlns:a="http://schemas.openxmlformats.org/drawingml/2006/main" xmlns:r="http://schemas.openxmlformats.org/officeDocument/2006/relationships" xmlns:p="http://schemas.openxmlformats.org/presentationml/2006/main">
  <p:tag name="ICONSECONDCOLOR" val="16777215"/>
  <p:tag name="EASYCOUNT" val=";283.;284.;284.;735.;736.;366."/>
</p:tagLst>
</file>

<file path=ppt/tags/tag48.xml><?xml version="1.0" encoding="utf-8"?>
<p:tagLst xmlns:a="http://schemas.openxmlformats.org/drawingml/2006/main" xmlns:r="http://schemas.openxmlformats.org/officeDocument/2006/relationships" xmlns:p="http://schemas.openxmlformats.org/presentationml/2006/main">
  <p:tag name="EASYCOUNT" val=";366."/>
</p:tagLst>
</file>

<file path=ppt/tags/tag49.xml><?xml version="1.0" encoding="utf-8"?>
<p:tagLst xmlns:a="http://schemas.openxmlformats.org/drawingml/2006/main" xmlns:r="http://schemas.openxmlformats.org/officeDocument/2006/relationships" xmlns:p="http://schemas.openxmlformats.org/presentationml/2006/main">
  <p:tag name="EASYCOUNT" val=";192."/>
</p:tagLst>
</file>

<file path=ppt/tags/tag5.xml><?xml version="1.0" encoding="utf-8"?>
<p:tagLst xmlns:a="http://schemas.openxmlformats.org/drawingml/2006/main" xmlns:r="http://schemas.openxmlformats.org/officeDocument/2006/relationships" xmlns:p="http://schemas.openxmlformats.org/presentationml/2006/main">
  <p:tag name="EASYCOUNT" val=";1.;2."/>
</p:tagLst>
</file>

<file path=ppt/tags/tag50.xml><?xml version="1.0" encoding="utf-8"?>
<p:tagLst xmlns:a="http://schemas.openxmlformats.org/drawingml/2006/main" xmlns:r="http://schemas.openxmlformats.org/officeDocument/2006/relationships" xmlns:p="http://schemas.openxmlformats.org/presentationml/2006/main">
  <p:tag name="EASYCOUNT" val=";364."/>
</p:tagLst>
</file>

<file path=ppt/tags/tag51.xml><?xml version="1.0" encoding="utf-8"?>
<p:tagLst xmlns:a="http://schemas.openxmlformats.org/drawingml/2006/main" xmlns:r="http://schemas.openxmlformats.org/officeDocument/2006/relationships" xmlns:p="http://schemas.openxmlformats.org/presentationml/2006/main">
  <p:tag name="EASYCOUNT" val=";332."/>
</p:tagLst>
</file>

<file path=ppt/tags/tag52.xml><?xml version="1.0" encoding="utf-8"?>
<p:tagLst xmlns:a="http://schemas.openxmlformats.org/drawingml/2006/main" xmlns:r="http://schemas.openxmlformats.org/officeDocument/2006/relationships" xmlns:p="http://schemas.openxmlformats.org/presentationml/2006/main">
  <p:tag name="ICONSECONDCOLOR" val="16777215"/>
  <p:tag name="EASYCOUNT" val=";259.;260.;260.;666.;667.;332."/>
</p:tagLst>
</file>

<file path=ppt/tags/tag53.xml><?xml version="1.0" encoding="utf-8"?>
<p:tagLst xmlns:a="http://schemas.openxmlformats.org/drawingml/2006/main" xmlns:r="http://schemas.openxmlformats.org/officeDocument/2006/relationships" xmlns:p="http://schemas.openxmlformats.org/presentationml/2006/main">
  <p:tag name="EASYCOUNT" val=";265."/>
</p:tagLst>
</file>

<file path=ppt/tags/tag54.xml><?xml version="1.0" encoding="utf-8"?>
<p:tagLst xmlns:a="http://schemas.openxmlformats.org/drawingml/2006/main" xmlns:r="http://schemas.openxmlformats.org/officeDocument/2006/relationships" xmlns:p="http://schemas.openxmlformats.org/presentationml/2006/main">
  <p:tag name="ICONSECONDCOLOR" val="16777215"/>
  <p:tag name="EASYCOUNT" val=";86.;732.;733.;364."/>
</p:tagLst>
</file>

<file path=ppt/tags/tag55.xml><?xml version="1.0" encoding="utf-8"?>
<p:tagLst xmlns:a="http://schemas.openxmlformats.org/drawingml/2006/main" xmlns:r="http://schemas.openxmlformats.org/officeDocument/2006/relationships" xmlns:p="http://schemas.openxmlformats.org/presentationml/2006/main">
  <p:tag name="ICONSECONDCOLOR" val="16777215"/>
  <p:tag name="EASYCOUNT" val=";142.;143.;143.;353.;354.;177."/>
</p:tagLst>
</file>

<file path=ppt/tags/tag56.xml><?xml version="1.0" encoding="utf-8"?>
<p:tagLst xmlns:a="http://schemas.openxmlformats.org/drawingml/2006/main" xmlns:r="http://schemas.openxmlformats.org/officeDocument/2006/relationships" xmlns:p="http://schemas.openxmlformats.org/presentationml/2006/main">
  <p:tag name="EASYCOUNT" val=";177."/>
</p:tagLst>
</file>

<file path=ppt/tags/tag57.xml><?xml version="1.0" encoding="utf-8"?>
<p:tagLst xmlns:a="http://schemas.openxmlformats.org/drawingml/2006/main" xmlns:r="http://schemas.openxmlformats.org/officeDocument/2006/relationships" xmlns:p="http://schemas.openxmlformats.org/presentationml/2006/main">
  <p:tag name="ICONSECONDCOLOR" val="16777215"/>
  <p:tag name="EASYCOUNT" val=";157.;158.;158.;383.;384.;192."/>
</p:tagLst>
</file>

<file path=ppt/tags/tag58.xml><?xml version="1.0" encoding="utf-8"?>
<p:tagLst xmlns:a="http://schemas.openxmlformats.org/drawingml/2006/main" xmlns:r="http://schemas.openxmlformats.org/officeDocument/2006/relationships" xmlns:p="http://schemas.openxmlformats.org/presentationml/2006/main">
  <p:tag name="ICONSECONDCOLOR" val="16777215"/>
  <p:tag name="EASYCOUNT" val=";283.;284.;284.;735.;736.;366."/>
</p:tagLst>
</file>

<file path=ppt/tags/tag59.xml><?xml version="1.0" encoding="utf-8"?>
<p:tagLst xmlns:a="http://schemas.openxmlformats.org/drawingml/2006/main" xmlns:r="http://schemas.openxmlformats.org/officeDocument/2006/relationships" xmlns:p="http://schemas.openxmlformats.org/presentationml/2006/main">
  <p:tag name="EASYCOUNT" val=";366."/>
</p:tagLst>
</file>

<file path=ppt/tags/tag6.xml><?xml version="1.0" encoding="utf-8"?>
<p:tagLst xmlns:a="http://schemas.openxmlformats.org/drawingml/2006/main" xmlns:r="http://schemas.openxmlformats.org/officeDocument/2006/relationships" xmlns:p="http://schemas.openxmlformats.org/presentationml/2006/main">
  <p:tag name="EASYCOUNT" val=";1."/>
</p:tagLst>
</file>

<file path=ppt/tags/tag60.xml><?xml version="1.0" encoding="utf-8"?>
<p:tagLst xmlns:a="http://schemas.openxmlformats.org/drawingml/2006/main" xmlns:r="http://schemas.openxmlformats.org/officeDocument/2006/relationships" xmlns:p="http://schemas.openxmlformats.org/presentationml/2006/main">
  <p:tag name="EASYCOUNT" val=";192."/>
</p:tagLst>
</file>

<file path=ppt/tags/tag61.xml><?xml version="1.0" encoding="utf-8"?>
<p:tagLst xmlns:a="http://schemas.openxmlformats.org/drawingml/2006/main" xmlns:r="http://schemas.openxmlformats.org/officeDocument/2006/relationships" xmlns:p="http://schemas.openxmlformats.org/presentationml/2006/main">
  <p:tag name="ICONSECONDCOLOR" val="16777215"/>
  <p:tag name="EASYCOUNT" val=";157.;158.;158.;383.;384.;192."/>
</p:tagLst>
</file>

<file path=ppt/tags/tag62.xml><?xml version="1.0" encoding="utf-8"?>
<p:tagLst xmlns:a="http://schemas.openxmlformats.org/drawingml/2006/main" xmlns:r="http://schemas.openxmlformats.org/officeDocument/2006/relationships" xmlns:p="http://schemas.openxmlformats.org/presentationml/2006/main">
  <p:tag name="ICONSECONDCOLOR" val="16777215"/>
  <p:tag name="EASYCOUNT" val=";283.;284.;284.;735.;736.;366."/>
</p:tagLst>
</file>

<file path=ppt/tags/tag63.xml><?xml version="1.0" encoding="utf-8"?>
<p:tagLst xmlns:a="http://schemas.openxmlformats.org/drawingml/2006/main" xmlns:r="http://schemas.openxmlformats.org/officeDocument/2006/relationships" xmlns:p="http://schemas.openxmlformats.org/presentationml/2006/main">
  <p:tag name="EASYCOUNT" val=";366."/>
</p:tagLst>
</file>

<file path=ppt/tags/tag64.xml><?xml version="1.0" encoding="utf-8"?>
<p:tagLst xmlns:a="http://schemas.openxmlformats.org/drawingml/2006/main" xmlns:r="http://schemas.openxmlformats.org/officeDocument/2006/relationships" xmlns:p="http://schemas.openxmlformats.org/presentationml/2006/main">
  <p:tag name="EASYCOUNT" val=";192."/>
</p:tagLst>
</file>

<file path=ppt/tags/tag65.xml><?xml version="1.0" encoding="utf-8"?>
<p:tagLst xmlns:a="http://schemas.openxmlformats.org/drawingml/2006/main" xmlns:r="http://schemas.openxmlformats.org/officeDocument/2006/relationships" xmlns:p="http://schemas.openxmlformats.org/presentationml/2006/main">
  <p:tag name="EASYCOUNT" val=";364."/>
</p:tagLst>
</file>

<file path=ppt/tags/tag66.xml><?xml version="1.0" encoding="utf-8"?>
<p:tagLst xmlns:a="http://schemas.openxmlformats.org/drawingml/2006/main" xmlns:r="http://schemas.openxmlformats.org/officeDocument/2006/relationships" xmlns:p="http://schemas.openxmlformats.org/presentationml/2006/main">
  <p:tag name="EASYCOUNT" val=";332."/>
</p:tagLst>
</file>

<file path=ppt/tags/tag67.xml><?xml version="1.0" encoding="utf-8"?>
<p:tagLst xmlns:a="http://schemas.openxmlformats.org/drawingml/2006/main" xmlns:r="http://schemas.openxmlformats.org/officeDocument/2006/relationships" xmlns:p="http://schemas.openxmlformats.org/presentationml/2006/main">
  <p:tag name="ICONSECONDCOLOR" val="16777215"/>
  <p:tag name="EASYCOUNT" val=";38.;38.;38.;76.;77.;39."/>
</p:tagLst>
</file>

<file path=ppt/tags/tag68.xml><?xml version="1.0" encoding="utf-8"?>
<p:tagLst xmlns:a="http://schemas.openxmlformats.org/drawingml/2006/main" xmlns:r="http://schemas.openxmlformats.org/officeDocument/2006/relationships" xmlns:p="http://schemas.openxmlformats.org/presentationml/2006/main">
  <p:tag name="ICONSECONDCOLOR" val="16777215"/>
  <p:tag name="EASYCOUNT" val=";298.;299.;299.;765.;766.;381."/>
</p:tagLst>
</file>

<file path=ppt/tags/tag69.xml><?xml version="1.0" encoding="utf-8"?>
<p:tagLst xmlns:a="http://schemas.openxmlformats.org/drawingml/2006/main" xmlns:r="http://schemas.openxmlformats.org/officeDocument/2006/relationships" xmlns:p="http://schemas.openxmlformats.org/presentationml/2006/main">
  <p:tag name="ICONSECONDCOLOR" val="16777215"/>
  <p:tag name="EASYCOUNT" val=";189.;190.;190.;525.;526.;262."/>
</p:tagLst>
</file>

<file path=ppt/tags/tag7.xml><?xml version="1.0" encoding="utf-8"?>
<p:tagLst xmlns:a="http://schemas.openxmlformats.org/drawingml/2006/main" xmlns:r="http://schemas.openxmlformats.org/officeDocument/2006/relationships" xmlns:p="http://schemas.openxmlformats.org/presentationml/2006/main">
  <p:tag name="EASYCOUNT" val=";2."/>
</p:tagLst>
</file>

<file path=ppt/tags/tag70.xml><?xml version="1.0" encoding="utf-8"?>
<p:tagLst xmlns:a="http://schemas.openxmlformats.org/drawingml/2006/main" xmlns:r="http://schemas.openxmlformats.org/officeDocument/2006/relationships" xmlns:p="http://schemas.openxmlformats.org/presentationml/2006/main">
  <p:tag name="ICONSECONDCOLOR" val="16777215"/>
  <p:tag name="EASYCOUNT" val=";318.;319.;319.;805.;806.;401."/>
</p:tagLst>
</file>

<file path=ppt/tags/tag71.xml><?xml version="1.0" encoding="utf-8"?>
<p:tagLst xmlns:a="http://schemas.openxmlformats.org/drawingml/2006/main" xmlns:r="http://schemas.openxmlformats.org/officeDocument/2006/relationships" xmlns:p="http://schemas.openxmlformats.org/presentationml/2006/main">
  <p:tag name="ICONSECONDCOLOR" val="16777215"/>
  <p:tag name="EASYCOUNT" val=";3.;3.;3.;5.;6.;3."/>
</p:tagLst>
</file>

<file path=ppt/tags/tag72.xml><?xml version="1.0" encoding="utf-8"?>
<p:tagLst xmlns:a="http://schemas.openxmlformats.org/drawingml/2006/main" xmlns:r="http://schemas.openxmlformats.org/officeDocument/2006/relationships" xmlns:p="http://schemas.openxmlformats.org/presentationml/2006/main">
  <p:tag name="ICONSECONDCOLOR" val="16777215"/>
  <p:tag name="EASYCOUNT" val=";185.;186.;186.;517.;518.;258."/>
</p:tagLst>
</file>

<file path=ppt/tags/tag73.xml><?xml version="1.0" encoding="utf-8"?>
<p:tagLst xmlns:a="http://schemas.openxmlformats.org/drawingml/2006/main" xmlns:r="http://schemas.openxmlformats.org/officeDocument/2006/relationships" xmlns:p="http://schemas.openxmlformats.org/presentationml/2006/main">
  <p:tag name="ICONSECONDCOLOR" val="16777215"/>
  <p:tag name="EASYCOUNT" val=";139.;140.;140.;347.;348.;174."/>
</p:tagLst>
</file>

<file path=ppt/tags/tag74.xml><?xml version="1.0" encoding="utf-8"?>
<p:tagLst xmlns:a="http://schemas.openxmlformats.org/drawingml/2006/main" xmlns:r="http://schemas.openxmlformats.org/officeDocument/2006/relationships" xmlns:p="http://schemas.openxmlformats.org/presentationml/2006/main">
  <p:tag name="ICONSECONDCOLOR" val="16777215"/>
  <p:tag name="EASYCOUNT" val=";263.;264.;264.;674.;675.;336."/>
</p:tagLst>
</file>

<file path=ppt/tags/tag75.xml><?xml version="1.0" encoding="utf-8"?>
<p:tagLst xmlns:a="http://schemas.openxmlformats.org/drawingml/2006/main" xmlns:r="http://schemas.openxmlformats.org/officeDocument/2006/relationships" xmlns:p="http://schemas.openxmlformats.org/presentationml/2006/main">
  <p:tag name="EASYCOUNT" val=";336."/>
</p:tagLst>
</file>

<file path=ppt/tags/tag76.xml><?xml version="1.0" encoding="utf-8"?>
<p:tagLst xmlns:a="http://schemas.openxmlformats.org/drawingml/2006/main" xmlns:r="http://schemas.openxmlformats.org/officeDocument/2006/relationships" xmlns:p="http://schemas.openxmlformats.org/presentationml/2006/main">
  <p:tag name="EASYCOUNT" val=";174."/>
</p:tagLst>
</file>

<file path=ppt/tags/tag77.xml><?xml version="1.0" encoding="utf-8"?>
<p:tagLst xmlns:a="http://schemas.openxmlformats.org/drawingml/2006/main" xmlns:r="http://schemas.openxmlformats.org/officeDocument/2006/relationships" xmlns:p="http://schemas.openxmlformats.org/presentationml/2006/main">
  <p:tag name="EASYCOUNT" val=";258."/>
</p:tagLst>
</file>

<file path=ppt/tags/tag78.xml><?xml version="1.0" encoding="utf-8"?>
<p:tagLst xmlns:a="http://schemas.openxmlformats.org/drawingml/2006/main" xmlns:r="http://schemas.openxmlformats.org/officeDocument/2006/relationships" xmlns:p="http://schemas.openxmlformats.org/presentationml/2006/main">
  <p:tag name="EASYCOUNT" val=";3."/>
</p:tagLst>
</file>

<file path=ppt/tags/tag79.xml><?xml version="1.0" encoding="utf-8"?>
<p:tagLst xmlns:a="http://schemas.openxmlformats.org/drawingml/2006/main" xmlns:r="http://schemas.openxmlformats.org/officeDocument/2006/relationships" xmlns:p="http://schemas.openxmlformats.org/presentationml/2006/main">
  <p:tag name="EASYCOUNT" val=";401."/>
</p:tagLst>
</file>

<file path=ppt/tags/tag8.xml><?xml version="1.0" encoding="utf-8"?>
<p:tagLst xmlns:a="http://schemas.openxmlformats.org/drawingml/2006/main" xmlns:r="http://schemas.openxmlformats.org/officeDocument/2006/relationships" xmlns:p="http://schemas.openxmlformats.org/presentationml/2006/main">
  <p:tag name="EASYMETA" val="&lt;shapeElement&gt;&#10;&#10;&lt;name1&gt;IAV Logo B0&lt;/name1&gt;&#10;&#10;&lt;name2&gt;IAV Logo B0&lt;/name2&gt;&#10;&#10;&lt;category1&gt;IAV Elemente&lt;/category1&gt;&#10;&#10;&lt;category2&gt;IAV Elements&lt;/category2&gt;&#10;&#10;&lt;tags1&gt;&lt;/tags1&gt;&#10;&#10;&lt;tags2&gt;&lt;/tags2&gt;&#10;&#10;&lt;lineBreak&gt;false&lt;/lineBreak&gt;&#10;&#10;&lt;forceSquarePreview&gt;false&lt;/forceSquarePreview&gt;&#10;&#10;&lt;fileName&gt;IAV_Logo_B0&lt;/fileName&gt;&#10;&#10;&lt;ungroup&gt;1&lt;/ungroup&gt;&#10;&lt;type&gt;2&lt;/type&gt;&#10;&#10;&lt;/shapeElement&gt;"/>
  <p:tag name="LEFT" val="799,0744"/>
  <p:tag name="TOP" val="462,0771"/>
</p:tagLst>
</file>

<file path=ppt/tags/tag80.xml><?xml version="1.0" encoding="utf-8"?>
<p:tagLst xmlns:a="http://schemas.openxmlformats.org/drawingml/2006/main" xmlns:r="http://schemas.openxmlformats.org/officeDocument/2006/relationships" xmlns:p="http://schemas.openxmlformats.org/presentationml/2006/main">
  <p:tag name="EASYCOUNT" val=";262."/>
</p:tagLst>
</file>

<file path=ppt/tags/tag81.xml><?xml version="1.0" encoding="utf-8"?>
<p:tagLst xmlns:a="http://schemas.openxmlformats.org/drawingml/2006/main" xmlns:r="http://schemas.openxmlformats.org/officeDocument/2006/relationships" xmlns:p="http://schemas.openxmlformats.org/presentationml/2006/main">
  <p:tag name="EASYCOUNT" val=";381."/>
</p:tagLst>
</file>

<file path=ppt/tags/tag82.xml><?xml version="1.0" encoding="utf-8"?>
<p:tagLst xmlns:a="http://schemas.openxmlformats.org/drawingml/2006/main" xmlns:r="http://schemas.openxmlformats.org/officeDocument/2006/relationships" xmlns:p="http://schemas.openxmlformats.org/presentationml/2006/main">
  <p:tag name="EASYCOUNT" val=";39."/>
</p:tagLst>
</file>

<file path=ppt/tags/tag83.xml><?xml version="1.0" encoding="utf-8"?>
<p:tagLst xmlns:a="http://schemas.openxmlformats.org/drawingml/2006/main" xmlns:r="http://schemas.openxmlformats.org/officeDocument/2006/relationships" xmlns:p="http://schemas.openxmlformats.org/presentationml/2006/main">
  <p:tag name="ICONSECONDCOLOR" val="16777215"/>
  <p:tag name="EASYCOUNT" val=";220.;221.;221.;587.;588.;293."/>
</p:tagLst>
</file>

<file path=ppt/tags/tag84.xml><?xml version="1.0" encoding="utf-8"?>
<p:tagLst xmlns:a="http://schemas.openxmlformats.org/drawingml/2006/main" xmlns:r="http://schemas.openxmlformats.org/officeDocument/2006/relationships" xmlns:p="http://schemas.openxmlformats.org/presentationml/2006/main">
  <p:tag name="ICONSECONDCOLOR" val="16777215"/>
  <p:tag name="EASYCOUNT" val=";70.;485.;486.;242."/>
</p:tagLst>
</file>

<file path=ppt/tags/tag85.xml><?xml version="1.0" encoding="utf-8"?>
<p:tagLst xmlns:a="http://schemas.openxmlformats.org/drawingml/2006/main" xmlns:r="http://schemas.openxmlformats.org/officeDocument/2006/relationships" xmlns:p="http://schemas.openxmlformats.org/presentationml/2006/main">
  <p:tag name="ICONSECONDCOLOR" val="16777215"/>
  <p:tag name="EASYCOUNT" val=";257.;258.;258.;662.;663.;330."/>
</p:tagLst>
</file>

<file path=ppt/tags/tag86.xml><?xml version="1.0" encoding="utf-8"?>
<p:tagLst xmlns:a="http://schemas.openxmlformats.org/drawingml/2006/main" xmlns:r="http://schemas.openxmlformats.org/officeDocument/2006/relationships" xmlns:p="http://schemas.openxmlformats.org/presentationml/2006/main">
  <p:tag name="EASYCOUNT" val=";330."/>
</p:tagLst>
</file>

<file path=ppt/tags/tag87.xml><?xml version="1.0" encoding="utf-8"?>
<p:tagLst xmlns:a="http://schemas.openxmlformats.org/drawingml/2006/main" xmlns:r="http://schemas.openxmlformats.org/officeDocument/2006/relationships" xmlns:p="http://schemas.openxmlformats.org/presentationml/2006/main">
  <p:tag name="EASYCOUNT" val=";242."/>
</p:tagLst>
</file>

<file path=ppt/tags/tag88.xml><?xml version="1.0" encoding="utf-8"?>
<p:tagLst xmlns:a="http://schemas.openxmlformats.org/drawingml/2006/main" xmlns:r="http://schemas.openxmlformats.org/officeDocument/2006/relationships" xmlns:p="http://schemas.openxmlformats.org/presentationml/2006/main">
  <p:tag name="EASYCOUNT" val=";293."/>
</p:tagLst>
</file>

<file path=ppt/tags/tag89.xml><?xml version="1.0" encoding="utf-8"?>
<p:tagLst xmlns:a="http://schemas.openxmlformats.org/drawingml/2006/main" xmlns:r="http://schemas.openxmlformats.org/officeDocument/2006/relationships" xmlns:p="http://schemas.openxmlformats.org/presentationml/2006/main">
  <p:tag name="ICONSECONDCOLOR" val="16777215"/>
  <p:tag name="EASYCOUNT" val=";224.;225.;225.;595.;596.;297."/>
</p:tagLst>
</file>

<file path=ppt/tags/tag9.xml><?xml version="1.0" encoding="utf-8"?>
<p:tagLst xmlns:a="http://schemas.openxmlformats.org/drawingml/2006/main" xmlns:r="http://schemas.openxmlformats.org/officeDocument/2006/relationships" xmlns:p="http://schemas.openxmlformats.org/presentationml/2006/main">
  <p:tag name="ICONSECONDCOLOR" val="16777215"/>
  <p:tag name="EASYCOUNT" val=";1.;1.;1.;1.;2.;1."/>
</p:tagLst>
</file>

<file path=ppt/tags/tag90.xml><?xml version="1.0" encoding="utf-8"?>
<p:tagLst xmlns:a="http://schemas.openxmlformats.org/drawingml/2006/main" xmlns:r="http://schemas.openxmlformats.org/officeDocument/2006/relationships" xmlns:p="http://schemas.openxmlformats.org/presentationml/2006/main">
  <p:tag name="ICONSECONDCOLOR" val="16777215"/>
  <p:tag name="EASYCOUNT" val=";194.;195.;195.;535.;536.;267."/>
</p:tagLst>
</file>

<file path=ppt/tags/tag91.xml><?xml version="1.0" encoding="utf-8"?>
<p:tagLst xmlns:a="http://schemas.openxmlformats.org/drawingml/2006/main" xmlns:r="http://schemas.openxmlformats.org/officeDocument/2006/relationships" xmlns:p="http://schemas.openxmlformats.org/presentationml/2006/main">
  <p:tag name="ICONSECONDCOLOR" val="16777215"/>
  <p:tag name="EASYCOUNT" val=";79.;718.;719.;357."/>
</p:tagLst>
</file>

<file path=ppt/tags/tag92.xml><?xml version="1.0" encoding="utf-8"?>
<p:tagLst xmlns:a="http://schemas.openxmlformats.org/drawingml/2006/main" xmlns:r="http://schemas.openxmlformats.org/officeDocument/2006/relationships" xmlns:p="http://schemas.openxmlformats.org/presentationml/2006/main">
  <p:tag name="EASYCOUNT" val=";357."/>
</p:tagLst>
</file>

<file path=ppt/tags/tag93.xml><?xml version="1.0" encoding="utf-8"?>
<p:tagLst xmlns:a="http://schemas.openxmlformats.org/drawingml/2006/main" xmlns:r="http://schemas.openxmlformats.org/officeDocument/2006/relationships" xmlns:p="http://schemas.openxmlformats.org/presentationml/2006/main">
  <p:tag name="EASYCOUNT" val=";267."/>
</p:tagLst>
</file>

<file path=ppt/tags/tag94.xml><?xml version="1.0" encoding="utf-8"?>
<p:tagLst xmlns:a="http://schemas.openxmlformats.org/drawingml/2006/main" xmlns:r="http://schemas.openxmlformats.org/officeDocument/2006/relationships" xmlns:p="http://schemas.openxmlformats.org/presentationml/2006/main">
  <p:tag name="EASYCOUNT" val=";297."/>
</p:tagLst>
</file>

<file path=ppt/tags/tag95.xml><?xml version="1.0" encoding="utf-8"?>
<p:tagLst xmlns:a="http://schemas.openxmlformats.org/drawingml/2006/main" xmlns:r="http://schemas.openxmlformats.org/officeDocument/2006/relationships" xmlns:p="http://schemas.openxmlformats.org/presentationml/2006/main">
  <p:tag name="EASYCOUNT" val=";7.;8.;9."/>
  <p:tag name="CONTACTSLIDE" val="yes"/>
</p:tagLst>
</file>

<file path=ppt/tags/tag96.xml><?xml version="1.0" encoding="utf-8"?>
<p:tagLst xmlns:a="http://schemas.openxmlformats.org/drawingml/2006/main" xmlns:r="http://schemas.openxmlformats.org/officeDocument/2006/relationships" xmlns:p="http://schemas.openxmlformats.org/presentationml/2006/main">
  <p:tag name="EASYCOUNT" val=";7."/>
</p:tagLst>
</file>

<file path=ppt/tags/tag97.xml><?xml version="1.0" encoding="utf-8"?>
<p:tagLst xmlns:a="http://schemas.openxmlformats.org/drawingml/2006/main" xmlns:r="http://schemas.openxmlformats.org/officeDocument/2006/relationships" xmlns:p="http://schemas.openxmlformats.org/presentationml/2006/main">
  <p:tag name="EASYCOUNT" val=";8.;9."/>
</p:tagLst>
</file>

<file path=ppt/theme/theme1.xml><?xml version="1.0" encoding="utf-8"?>
<a:theme xmlns:a="http://schemas.openxmlformats.org/drawingml/2006/main" name="IAV">
  <a:themeElements>
    <a:clrScheme name="Benutzerdefiniert 11">
      <a:dk1>
        <a:srgbClr val="001A54"/>
      </a:dk1>
      <a:lt1>
        <a:srgbClr val="FFFFFF"/>
      </a:lt1>
      <a:dk2>
        <a:srgbClr val="041E96"/>
      </a:dk2>
      <a:lt2>
        <a:srgbClr val="FFFFFF"/>
      </a:lt2>
      <a:accent1>
        <a:srgbClr val="52C9FF"/>
      </a:accent1>
      <a:accent2>
        <a:srgbClr val="0091FF"/>
      </a:accent2>
      <a:accent3>
        <a:srgbClr val="1446EB"/>
      </a:accent3>
      <a:accent4>
        <a:srgbClr val="5500B4"/>
      </a:accent4>
      <a:accent5>
        <a:srgbClr val="A200E6"/>
      </a:accent5>
      <a:accent6>
        <a:srgbClr val="DC46F3"/>
      </a:accent6>
      <a:hlink>
        <a:srgbClr val="FF73FF"/>
      </a:hlink>
      <a:folHlink>
        <a:srgbClr val="FF73F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144000" tIns="108000" rIns="144000" bIns="144000" rtlCol="0" anchor="t"/>
      <a:lstStyle>
        <a:defPPr algn="l">
          <a:spcBef>
            <a:spcPts val="800"/>
          </a:spcBef>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76213" indent="-176213" algn="l">
          <a:lnSpc>
            <a:spcPct val="120000"/>
          </a:lnSpc>
          <a:spcBef>
            <a:spcPts val="800"/>
          </a:spcBef>
          <a:buFont typeface="Arial" panose="020B0604020202020204" pitchFamily="34" charset="0"/>
          <a:buChar char="•"/>
          <a:defRPr sz="1600" dirty="0" err="1" smtClean="0"/>
        </a:defPPr>
      </a:lstStyle>
    </a:txDef>
  </a:objectDefaults>
  <a:extraClrSchemeLst/>
  <a:custClrLst>
    <a:custClr name="B0">
      <a:srgbClr val="001A54"/>
    </a:custClr>
    <a:custClr name="B1">
      <a:srgbClr val="041E96"/>
    </a:custClr>
    <a:custClr name="B2">
      <a:srgbClr val="1446EB"/>
    </a:custClr>
    <a:custClr name="B3">
      <a:srgbClr val="0091FF"/>
    </a:custClr>
    <a:custClr name="B4">
      <a:srgbClr val="52C9FF"/>
    </a:custClr>
    <a:custClr name="B5">
      <a:srgbClr val="96E7FF"/>
    </a:custClr>
    <a:custClr name="B6">
      <a:srgbClr val="D2F5FF"/>
    </a:custClr>
    <a:custClr name="r:255 g:255 b:255">
      <a:srgbClr val="FFFFFF"/>
    </a:custClr>
    <a:custClr name="r:255 g:255 b:255">
      <a:srgbClr val="FFFFFF"/>
    </a:custClr>
    <a:custClr name="r:255 g:255 b:255">
      <a:srgbClr val="FFFFFF"/>
    </a:custClr>
    <a:custClr name="r:255 g:255 b:255">
      <a:srgbClr val="FFFFFF"/>
    </a:custClr>
    <a:custClr name="M1">
      <a:srgbClr val="5500B4"/>
    </a:custClr>
    <a:custClr name="M2">
      <a:srgbClr val="A200E6"/>
    </a:custClr>
    <a:custClr name="M3">
      <a:srgbClr val="DC46F3"/>
    </a:custClr>
    <a:custClr name="M4">
      <a:srgbClr val="FF73FA"/>
    </a:custClr>
    <a:custClr name="M5">
      <a:srgbClr val="FFAFFF"/>
    </a:custClr>
    <a:custClr name="M6">
      <a:srgbClr val="FDDE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Gray (Inactive Content)">
      <a:srgbClr val="CCCCCC"/>
    </a:custClr>
    <a:custClr name="Traffic Light Red">
      <a:srgbClr val="F80000"/>
    </a:custClr>
    <a:custClr name="Traffic Light Yellow">
      <a:srgbClr val="FFD800"/>
    </a:custClr>
    <a:custClr name="Traffic Light Green">
      <a:srgbClr val="80D800"/>
    </a:custClr>
    <a:custClr name="Dark Green">
      <a:srgbClr val="28A000"/>
    </a:custClr>
    <a:custClr name="Orange">
      <a:srgbClr val="FF9000"/>
    </a:custClr>
    <a:custClr name="r:255 g:255 b:255">
      <a:srgbClr val="FFFFFF"/>
    </a:custClr>
    <a:custClr name="r:255 g:255 b:255">
      <a:srgbClr val="FFFFFF"/>
    </a:custClr>
    <a:custClr name="r:255 g:255 b:255">
      <a:srgbClr val="FFFFFF"/>
    </a:custClr>
    <a:custClr name="r:255 g:255 b:255">
      <a:srgbClr val="FFFFFF"/>
    </a:custClr>
  </a:custClrLst>
  <a:extLst>
    <a:ext uri="{05A4C25C-085E-4340-85A3-A5531E510DB2}">
      <thm15:themeFamily xmlns:thm15="http://schemas.microsoft.com/office/thememl/2012/main" name="211115_IAV_PPT-Vorlage_DE_V02_jrr.pptx" id="{FE86CE97-2B86-47DC-960C-7AC964D0D8BF}" vid="{82D18DCE-96AC-45FE-BE25-B4EEEA6662A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af42ac6-9e93-4de9-9a72-10f913041ca1">
      <Terms xmlns="http://schemas.microsoft.com/office/infopath/2007/PartnerControls"/>
    </lcf76f155ced4ddcb4097134ff3c332f>
    <TaxCatchAll xmlns="dba31755-6864-4b8c-9e87-d0ce55a9ddc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85D6B3C6E37A54E8C32452C1A24B578" ma:contentTypeVersion="13" ma:contentTypeDescription="Create a new document." ma:contentTypeScope="" ma:versionID="e58063f3d42c16f7ae81f7be38fa36b9">
  <xsd:schema xmlns:xsd="http://www.w3.org/2001/XMLSchema" xmlns:xs="http://www.w3.org/2001/XMLSchema" xmlns:p="http://schemas.microsoft.com/office/2006/metadata/properties" xmlns:ns2="daf42ac6-9e93-4de9-9a72-10f913041ca1" xmlns:ns3="dba31755-6864-4b8c-9e87-d0ce55a9ddc2" targetNamespace="http://schemas.microsoft.com/office/2006/metadata/properties" ma:root="true" ma:fieldsID="03704d65d3f8dd8c088dd9048ae752ff" ns2:_="" ns3:_="">
    <xsd:import namespace="daf42ac6-9e93-4de9-9a72-10f913041ca1"/>
    <xsd:import namespace="dba31755-6864-4b8c-9e87-d0ce55a9ddc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f42ac6-9e93-4de9-9a72-10f913041ca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bf781aa3-eb08-4e80-b5cd-4604a4ade6fe"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ba31755-6864-4b8c-9e87-d0ce55a9ddc2"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e6f277a9-21bd-48a5-a7b2-29c823437733}" ma:internalName="TaxCatchAll" ma:showField="CatchAllData" ma:web="dba31755-6864-4b8c-9e87-d0ce55a9ddc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3423D9F-D4F6-4722-86F7-B7F1FD487CDF}">
  <ds:schemaRefs>
    <ds:schemaRef ds:uri="http://purl.org/dc/dcmitype/"/>
    <ds:schemaRef ds:uri="http://purl.org/dc/terms/"/>
    <ds:schemaRef ds:uri="http://schemas.microsoft.com/office/2006/metadata/properties"/>
    <ds:schemaRef ds:uri="http://schemas.microsoft.com/office/2006/documentManagement/types"/>
    <ds:schemaRef ds:uri="09130a7c-92cc-4e34-b8e4-72eee94df1b6"/>
    <ds:schemaRef ds:uri="http://purl.org/dc/elements/1.1/"/>
    <ds:schemaRef ds:uri="http://schemas.microsoft.com/office/infopath/2007/PartnerControls"/>
    <ds:schemaRef ds:uri="http://schemas.openxmlformats.org/package/2006/metadata/core-properties"/>
    <ds:schemaRef ds:uri="e1e66736-a3dc-482f-b04b-4e407ae1a9cb"/>
    <ds:schemaRef ds:uri="http://www.w3.org/XML/1998/namespace"/>
  </ds:schemaRefs>
</ds:datastoreItem>
</file>

<file path=customXml/itemProps2.xml><?xml version="1.0" encoding="utf-8"?>
<ds:datastoreItem xmlns:ds="http://schemas.openxmlformats.org/officeDocument/2006/customXml" ds:itemID="{BFAF97D2-9CBE-4103-8041-6B1C3EDD849A}"/>
</file>

<file path=customXml/itemProps3.xml><?xml version="1.0" encoding="utf-8"?>
<ds:datastoreItem xmlns:ds="http://schemas.openxmlformats.org/officeDocument/2006/customXml" ds:itemID="{86F59E95-4674-4DBF-8B86-37F165645A0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3739</Words>
  <Application>Microsoft Office PowerPoint</Application>
  <PresentationFormat>Custom</PresentationFormat>
  <Paragraphs>550</Paragraphs>
  <Slides>23</Slides>
  <Notes>23</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5" baseType="lpstr">
      <vt:lpstr>FujitsuInfinityPro-Regular</vt:lpstr>
      <vt:lpstr>MS PGothic</vt:lpstr>
      <vt:lpstr>Rubik</vt:lpstr>
      <vt:lpstr>游ゴシック Medium</vt:lpstr>
      <vt:lpstr>Aptos</vt:lpstr>
      <vt:lpstr>Arial</vt:lpstr>
      <vt:lpstr>Calibri</vt:lpstr>
      <vt:lpstr>Courier New</vt:lpstr>
      <vt:lpstr>Open Sans</vt:lpstr>
      <vt:lpstr>Segoe UI</vt:lpstr>
      <vt:lpstr>IAV</vt:lpstr>
      <vt:lpstr>think-cell Folie</vt:lpstr>
      <vt:lpstr>Trends of Automotive Threats and Attacks</vt:lpstr>
      <vt:lpstr>Introduction of IAV</vt:lpstr>
      <vt:lpstr>Dr. Dennis Kengo Oka</vt:lpstr>
      <vt:lpstr>Agenda</vt:lpstr>
      <vt:lpstr>Agenda</vt:lpstr>
      <vt:lpstr>Overview of Automotive Threats in 2024</vt:lpstr>
      <vt:lpstr>Overview of Published Automotive Vulnerabilities</vt:lpstr>
      <vt:lpstr>Estimated Cost of Cyberattacks in the Automotive Industry</vt:lpstr>
      <vt:lpstr>SDV Ecosystem – New Use Cases and Technologies</vt:lpstr>
      <vt:lpstr>Increased Attack Surface</vt:lpstr>
      <vt:lpstr>Future Technologies – Quantum Computing</vt:lpstr>
      <vt:lpstr>Quantum Computing Impact on Cybersecurity</vt:lpstr>
      <vt:lpstr>PQC Approaches</vt:lpstr>
      <vt:lpstr>Agenda</vt:lpstr>
      <vt:lpstr>Examples of Past Attacks</vt:lpstr>
      <vt:lpstr>Deep Dive</vt:lpstr>
      <vt:lpstr>Overview of Architecture</vt:lpstr>
      <vt:lpstr>Weaknesses</vt:lpstr>
      <vt:lpstr>Attack Steps</vt:lpstr>
      <vt:lpstr>Summary of the Attack</vt:lpstr>
      <vt:lpstr>Disclosure &amp; Remediation</vt:lpstr>
      <vt:lpstr>Call to Action</vt:lpstr>
      <vt:lpstr>Contac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orlage für IAV-Präsentationen</dc:title>
  <dc:creator>Oka, Dr. Dennis Kengo (JP)</dc:creator>
  <cp:lastModifiedBy>Oka, Dr. Dennis Kengo (JP)</cp:lastModifiedBy>
  <cp:revision>61</cp:revision>
  <cp:lastPrinted>2020-08-14T12:42:29Z</cp:lastPrinted>
  <dcterms:created xsi:type="dcterms:W3CDTF">2021-11-15T12:53:26Z</dcterms:created>
  <dcterms:modified xsi:type="dcterms:W3CDTF">2025-05-20T20:0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85D6B3C6E37A54E8C32452C1A24B578</vt:lpwstr>
  </property>
  <property fmtid="{D5CDD505-2E9C-101B-9397-08002B2CF9AE}" pid="3" name="MSIP_Label_eda87506-7fda-481d-a14b-4a8fe5add330_Enabled">
    <vt:lpwstr>true</vt:lpwstr>
  </property>
  <property fmtid="{D5CDD505-2E9C-101B-9397-08002B2CF9AE}" pid="4" name="MSIP_Label_eda87506-7fda-481d-a14b-4a8fe5add330_SetDate">
    <vt:lpwstr>2021-11-08T12:19:10Z</vt:lpwstr>
  </property>
  <property fmtid="{D5CDD505-2E9C-101B-9397-08002B2CF9AE}" pid="5" name="MSIP_Label_eda87506-7fda-481d-a14b-4a8fe5add330_Method">
    <vt:lpwstr>Standard</vt:lpwstr>
  </property>
  <property fmtid="{D5CDD505-2E9C-101B-9397-08002B2CF9AE}" pid="6" name="MSIP_Label_eda87506-7fda-481d-a14b-4a8fe5add330_Name">
    <vt:lpwstr>internal</vt:lpwstr>
  </property>
  <property fmtid="{D5CDD505-2E9C-101B-9397-08002B2CF9AE}" pid="7" name="MSIP_Label_eda87506-7fda-481d-a14b-4a8fe5add330_SiteId">
    <vt:lpwstr>cd726fc8-636c-4794-8425-41f9d8b0d7d5</vt:lpwstr>
  </property>
  <property fmtid="{D5CDD505-2E9C-101B-9397-08002B2CF9AE}" pid="8" name="MSIP_Label_eda87506-7fda-481d-a14b-4a8fe5add330_ActionId">
    <vt:lpwstr>f2fe046f-84d0-4a87-9c4f-badbea6e297f</vt:lpwstr>
  </property>
  <property fmtid="{D5CDD505-2E9C-101B-9397-08002B2CF9AE}" pid="9" name="MSIP_Label_eda87506-7fda-481d-a14b-4a8fe5add330_ContentBits">
    <vt:lpwstr>0</vt:lpwstr>
  </property>
</Properties>
</file>